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61" r:id="rId5"/>
  </p:sldMasterIdLst>
  <p:notesMasterIdLst>
    <p:notesMasterId r:id="rId25"/>
  </p:notesMasterIdLst>
  <p:handoutMasterIdLst>
    <p:handoutMasterId r:id="rId26"/>
  </p:handoutMasterIdLst>
  <p:sldIdLst>
    <p:sldId id="286" r:id="rId6"/>
    <p:sldId id="285" r:id="rId7"/>
    <p:sldId id="281" r:id="rId8"/>
    <p:sldId id="290" r:id="rId9"/>
    <p:sldId id="279" r:id="rId10"/>
    <p:sldId id="287" r:id="rId11"/>
    <p:sldId id="280" r:id="rId12"/>
    <p:sldId id="274" r:id="rId13"/>
    <p:sldId id="288" r:id="rId14"/>
    <p:sldId id="270" r:id="rId15"/>
    <p:sldId id="275" r:id="rId16"/>
    <p:sldId id="289" r:id="rId17"/>
    <p:sldId id="284" r:id="rId18"/>
    <p:sldId id="256" r:id="rId19"/>
    <p:sldId id="257" r:id="rId20"/>
    <p:sldId id="258" r:id="rId21"/>
    <p:sldId id="259" r:id="rId22"/>
    <p:sldId id="260" r:id="rId23"/>
    <p:sldId id="291" r:id="rId24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C6CD306-81AD-BC7D-16A2-05D9847175B0}" name="Woo, Lauren (DESE)" initials="W(" userId="S::lauren.woo@mass.gov::891b1bf9-83ca-4481-960c-a0625b521a43" providerId="AD"/>
  <p188:author id="{5C1B2516-ADB9-05F6-3B74-D18DEE411C29}" name="Foley, Kinnon (DESE)" initials="FK(" userId="S::Kinnon.Foley@mass.gov::4bff922e-d211-4dcd-970c-f57d358f4faf" providerId="AD"/>
  <p188:author id="{8C592D30-2790-C53A-65AD-E37E11204179}" name="Foley, Kinnon (DESE)" initials="F(" userId="S::kinnon.foley@mass.gov::4bff922e-d211-4dcd-970c-f57d358f4faf" providerId="AD"/>
  <p188:author id="{CEA6E036-CCA5-02B6-6749-978A2B4AB890}" name="Balter, Allison E. (DESE)" initials="B(" userId="S::allison.e.balter@mass.gov::e75af4ba-42b2-4e42-9625-808d672bf118" providerId="AD"/>
  <p188:author id="{D16EBA6C-0005-4440-DFE7-4EF425A32B55}" name="McKinnon, Kristen A (DESE)" initials="MKA(" userId="S::Kristen.A.McKinnon@mass.gov::a3149160-31a6-4b9e-8e6a-c5092def73c9" providerId="AD"/>
  <p188:author id="{56CA21B5-BDE8-F952-FB4B-7BE9A1507A6B}" name="Bhasin, Komal (DESE)" initials="B(" userId="S::komal.bhasin@mass.gov::3beaabff-1c4e-4597-a37a-5cd400a3bc69" providerId="AD"/>
  <p188:author id="{FD05E1BE-6FBF-6119-3F52-B30D788CC3C4}" name="Stronach, Anne Marie  (DESE)" initials="SAM(" userId="S::anne.marie.stronach@mass.gov::22e1ddf6-7028-4350-bb65-06ecb28656ac" providerId="AD"/>
  <p188:author id="{256FD6EE-05B9-F255-AE66-414DF0319BD4}" name="McKinnon, Kristen A (DESE)" initials="M(" userId="S::kristen.a.mckinnon@mass.gov::a3149160-31a6-4b9e-8e6a-c5092def73c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47B6"/>
    <a:srgbClr val="8397E7"/>
    <a:srgbClr val="AFCBFD"/>
    <a:srgbClr val="93A9FF"/>
    <a:srgbClr val="86A9E2"/>
    <a:srgbClr val="4948B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6800795-4A2C-45B7-A42F-C1FA821284BE}" v="2" dt="2024-06-18T15:52:37.552"/>
    <p1510:client id="{EFBB163E-063A-4A33-9E8D-FF54081380F2}" v="4" vWet="5" dt="2024-06-18T13:23:50.366"/>
    <p1510:client id="{FAFF7F1F-6C48-6287-C3B4-1A4F6017432E}" v="5" dt="2024-06-17T17:13:40.0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90" y="8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73AE36A-9849-8734-68B0-2D959C7265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0F2755D-0799-B19A-BCBD-8C9E999E64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211163C-EE2E-7546-90F8-CF22AAE91DD9}" type="datetimeFigureOut">
              <a:rPr lang="en-US" smtClean="0"/>
              <a:t>6/2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C1E47C-F85D-AA6B-B568-76BD637D3E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A28AEA-2389-7F26-5A5D-D8C5E312DFE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5190C47-E711-1845-B18B-7A2271B9705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4912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A251491-C050-C142-BE35-A9B9D73644B3}" type="datetimeFigureOut">
              <a:rPr lang="en-US" smtClean="0"/>
              <a:t>6/2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25FC15E-7FD1-034A-9729-2C6FA6821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7814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1297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234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5944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625" indent="-174625">
              <a:buFont typeface="Arial"/>
              <a:buChar char="•"/>
            </a:pP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6685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9816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2" name="Google Shape;62;p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g283a95ff704_0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0" name="Google Shape;70;g283a95ff704_0_8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g283a95ff70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8" name="Google Shape;78;g283a95ff704_0_0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g283d3cd94ad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Google Shape;86;g283d3cd94ad_0_0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g2e4ef72343e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" name="Google Shape;94;g2e4ef72343e_0_1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g2e4ef72343e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" name="Google Shape;94;g2e4ef72343e_0_1:notes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39502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092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1311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fontAlgn="t">
              <a:buFont typeface="Arial" panose="020B0604020202020204" pitchFamily="34" charset="0"/>
              <a:buNone/>
            </a:pPr>
            <a:endParaRPr lang="en-US" b="0" i="0">
              <a:solidFill>
                <a:srgbClr val="000000"/>
              </a:solidFill>
              <a:effectLst/>
              <a:highlight>
                <a:srgbClr val="FFFFFF"/>
              </a:highlight>
              <a:latin typeface="georgia" panose="02040502050405020303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8191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sz="1800">
              <a:latin typeface="Times New Roman"/>
              <a:ea typeface="Calibri" panose="020F0502020204030204" pitchFamily="34" charset="0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5401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1591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8580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4554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5FC15E-7FD1-034A-9729-2C6FA6821FB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641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0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fog, screenshot, blur&#10;&#10;Description automatically generated">
            <a:extLst>
              <a:ext uri="{FF2B5EF4-FFF2-40B4-BE49-F238E27FC236}">
                <a16:creationId xmlns:a16="http://schemas.microsoft.com/office/drawing/2014/main" id="{73A13FDB-6B12-D57B-937C-FDCC340F7D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1998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A9C25D-EF20-84AD-D14D-2061BB41F0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5838" y="690351"/>
            <a:ext cx="8631677" cy="1928238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6600" b="1" i="0" spc="-30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Apple Symbols" panose="02000000000000000000" pitchFamily="2" charset="-79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17F9B5-9E18-407C-4D11-7AC3882D70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5838" y="4855099"/>
            <a:ext cx="6770451" cy="1391055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rgbClr val="3647B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27C03EFA-A152-4539-22F6-1D780DB54F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24033" y="6133786"/>
            <a:ext cx="2642822" cy="556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4037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ag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 descr="The ESE logo.">
            <a:extLst>
              <a:ext uri="{FF2B5EF4-FFF2-40B4-BE49-F238E27FC236}">
                <a16:creationId xmlns:a16="http://schemas.microsoft.com/office/drawing/2014/main" id="{C0409D6F-5022-4C54-A665-4417B8EF04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7316" y="5630644"/>
            <a:ext cx="2417368" cy="1175641"/>
          </a:xfrm>
          <a:prstGeom prst="rect">
            <a:avLst/>
          </a:prstGeom>
        </p:spPr>
      </p:pic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7D512A3C-1A6C-4890-AAF3-6E19AD2E7913}"/>
              </a:ext>
            </a:extLst>
          </p:cNvPr>
          <p:cNvSpPr/>
          <p:nvPr userDrawn="1"/>
        </p:nvSpPr>
        <p:spPr>
          <a:xfrm>
            <a:off x="0" y="1233722"/>
            <a:ext cx="12192000" cy="258847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矩形 9" descr="Colored background box.">
            <a:extLst>
              <a:ext uri="{FF2B5EF4-FFF2-40B4-BE49-F238E27FC236}">
                <a16:creationId xmlns:a16="http://schemas.microsoft.com/office/drawing/2014/main" id="{72CE4073-084A-4342-853D-A4762D8A1AC4}"/>
              </a:ext>
            </a:extLst>
          </p:cNvPr>
          <p:cNvSpPr/>
          <p:nvPr userDrawn="1"/>
        </p:nvSpPr>
        <p:spPr>
          <a:xfrm>
            <a:off x="0" y="3822199"/>
            <a:ext cx="12192000" cy="1249421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837519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-one column numbering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The star in the ESE logo">
            <a:extLst>
              <a:ext uri="{FF2B5EF4-FFF2-40B4-BE49-F238E27FC236}">
                <a16:creationId xmlns:a16="http://schemas.microsoft.com/office/drawing/2014/main" id="{0A84CDFA-79F7-4BA0-98A7-CE6AD7E69B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38317">
            <a:off x="10844110" y="6132352"/>
            <a:ext cx="756578" cy="778194"/>
          </a:xfrm>
          <a:prstGeom prst="rect">
            <a:avLst/>
          </a:prstGeom>
        </p:spPr>
      </p:pic>
      <p:sp>
        <p:nvSpPr>
          <p:cNvPr id="7" name="矩形 6" descr="Colored background box.">
            <a:extLst>
              <a:ext uri="{FF2B5EF4-FFF2-40B4-BE49-F238E27FC236}">
                <a16:creationId xmlns:a16="http://schemas.microsoft.com/office/drawing/2014/main" id="{A875BDB0-8CE9-4FCF-818B-C21A2BF5A21B}"/>
              </a:ext>
            </a:extLst>
          </p:cNvPr>
          <p:cNvSpPr/>
          <p:nvPr userDrawn="1"/>
        </p:nvSpPr>
        <p:spPr>
          <a:xfrm>
            <a:off x="0" y="212726"/>
            <a:ext cx="250371" cy="832304"/>
          </a:xfrm>
          <a:prstGeom prst="rect">
            <a:avLst/>
          </a:prstGeom>
          <a:solidFill>
            <a:srgbClr val="E38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 descr="Colored background box.">
            <a:extLst>
              <a:ext uri="{FF2B5EF4-FFF2-40B4-BE49-F238E27FC236}">
                <a16:creationId xmlns:a16="http://schemas.microsoft.com/office/drawing/2014/main" id="{5DF00629-F578-459E-B808-C056CC098EE1}"/>
              </a:ext>
            </a:extLst>
          </p:cNvPr>
          <p:cNvSpPr/>
          <p:nvPr userDrawn="1"/>
        </p:nvSpPr>
        <p:spPr>
          <a:xfrm>
            <a:off x="435429" y="212727"/>
            <a:ext cx="11756571" cy="83230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73DEFAAE-AB64-48F2-AA3E-533A2C1271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7743" y="288925"/>
            <a:ext cx="11370972" cy="679905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altLang="zh-CN"/>
              <a:t>Click here to edit title</a:t>
            </a:r>
            <a:endParaRPr lang="zh-CN" alt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5FFD893-9645-4ABA-BC18-4957569298F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7743" y="1230403"/>
            <a:ext cx="11370972" cy="5049746"/>
          </a:xfrm>
        </p:spPr>
        <p:txBody>
          <a:bodyPr>
            <a:noAutofit/>
          </a:bodyPr>
          <a:lstStyle>
            <a:lvl1pPr marL="514350" indent="-5143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8526"/>
              </a:buClr>
              <a:buFont typeface="+mj-lt"/>
              <a:buAutoNum type="arabicPeriod"/>
              <a:defRPr sz="32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>
              <a:buClr>
                <a:srgbClr val="E38526"/>
              </a:buClr>
              <a:buFont typeface="Courier New" panose="02070309020205020404" pitchFamily="49" charset="0"/>
              <a:buChar char="o"/>
              <a:defRPr sz="28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buClr>
                <a:srgbClr val="E38526"/>
              </a:buClr>
              <a:buFont typeface="Wingdings" panose="05000000000000000000" pitchFamily="2" charset="2"/>
              <a:buChar char="§"/>
              <a:defRPr sz="24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buClr>
                <a:srgbClr val="E38526"/>
              </a:buClr>
              <a:buFont typeface="Wingdings" panose="05000000000000000000" pitchFamily="2" charset="2"/>
              <a:buChar char="Ø"/>
              <a:defRPr sz="200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buClr>
                <a:srgbClr val="E38526"/>
              </a:buClr>
              <a:buFont typeface="Wingdings" panose="05000000000000000000" pitchFamily="2" charset="2"/>
              <a:buChar char="v"/>
              <a:defRPr sz="2000" baseline="0">
                <a:solidFill>
                  <a:schemeClr val="accent1">
                    <a:lumMod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altLang="zh-CN"/>
              <a:t>Click here to create numbering list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F27229C-EC7B-4063-A33B-28A5E87E32E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250371" y="6356350"/>
            <a:ext cx="77133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Massachusetts Department of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lement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and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Secondary</a:t>
            </a:r>
            <a:r>
              <a:rPr lang="en-US" baseline="0">
                <a:latin typeface="Segoe"/>
              </a:rPr>
              <a:t> </a:t>
            </a:r>
            <a:r>
              <a:rPr lang="en-US" sz="1200" kern="1200">
                <a:solidFill>
                  <a:schemeClr val="tx1">
                    <a:tint val="75000"/>
                  </a:schemeClr>
                </a:solidFill>
                <a:latin typeface="Segoe"/>
                <a:ea typeface="+mn-ea"/>
                <a:cs typeface="+mn-cs"/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32756678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02711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bg>
      <p:bgPr>
        <a:solidFill>
          <a:srgbClr val="2174A5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-167" y="0"/>
            <a:ext cx="12192333" cy="5864133"/>
          </a:xfrm>
          <a:custGeom>
            <a:avLst/>
            <a:gdLst/>
            <a:ahLst/>
            <a:cxnLst/>
            <a:rect l="l" t="t" r="r" b="b"/>
            <a:pathLst>
              <a:path w="365770" h="175924" extrusionOk="0">
                <a:moveTo>
                  <a:pt x="0" y="0"/>
                </a:moveTo>
                <a:lnTo>
                  <a:pt x="365770" y="0"/>
                </a:lnTo>
                <a:lnTo>
                  <a:pt x="365760" y="70914"/>
                </a:lnTo>
                <a:lnTo>
                  <a:pt x="0" y="175924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</p:sp>
      <p:sp>
        <p:nvSpPr>
          <p:cNvPr id="11" name="Google Shape;11;p2"/>
          <p:cNvSpPr txBox="1">
            <a:spLocks noGrp="1"/>
          </p:cNvSpPr>
          <p:nvPr>
            <p:ph type="ctrTitle"/>
          </p:nvPr>
        </p:nvSpPr>
        <p:spPr>
          <a:xfrm>
            <a:off x="415600" y="719633"/>
            <a:ext cx="11360800" cy="171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ubTitle" idx="1"/>
          </p:nvPr>
        </p:nvSpPr>
        <p:spPr>
          <a:xfrm>
            <a:off x="415600" y="2504747"/>
            <a:ext cx="5656800" cy="98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2133"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5080245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bg>
      <p:bgPr>
        <a:solidFill>
          <a:schemeClr val="accent3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/>
          <p:nvPr/>
        </p:nvSpPr>
        <p:spPr>
          <a:xfrm>
            <a:off x="0" y="64132"/>
            <a:ext cx="12192333" cy="5864133"/>
          </a:xfrm>
          <a:custGeom>
            <a:avLst/>
            <a:gdLst/>
            <a:ahLst/>
            <a:cxnLst/>
            <a:rect l="l" t="t" r="r" b="b"/>
            <a:pathLst>
              <a:path w="365770" h="175924" extrusionOk="0">
                <a:moveTo>
                  <a:pt x="0" y="0"/>
                </a:moveTo>
                <a:lnTo>
                  <a:pt x="365770" y="0"/>
                </a:lnTo>
                <a:lnTo>
                  <a:pt x="365760" y="70914"/>
                </a:lnTo>
                <a:lnTo>
                  <a:pt x="0" y="175924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</p:sp>
      <p:sp>
        <p:nvSpPr>
          <p:cNvPr id="16" name="Google Shape;16;p3"/>
          <p:cNvSpPr/>
          <p:nvPr/>
        </p:nvSpPr>
        <p:spPr>
          <a:xfrm>
            <a:off x="0" y="0"/>
            <a:ext cx="12192333" cy="5864133"/>
          </a:xfrm>
          <a:custGeom>
            <a:avLst/>
            <a:gdLst/>
            <a:ahLst/>
            <a:cxnLst/>
            <a:rect l="l" t="t" r="r" b="b"/>
            <a:pathLst>
              <a:path w="365770" h="175924" extrusionOk="0">
                <a:moveTo>
                  <a:pt x="0" y="0"/>
                </a:moveTo>
                <a:lnTo>
                  <a:pt x="365770" y="0"/>
                </a:lnTo>
                <a:lnTo>
                  <a:pt x="365760" y="70914"/>
                </a:lnTo>
                <a:lnTo>
                  <a:pt x="0" y="17592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</p:sp>
      <p:sp>
        <p:nvSpPr>
          <p:cNvPr id="17" name="Google Shape;17;p3"/>
          <p:cNvSpPr txBox="1">
            <a:spLocks noGrp="1"/>
          </p:cNvSpPr>
          <p:nvPr>
            <p:ph type="title"/>
          </p:nvPr>
        </p:nvSpPr>
        <p:spPr>
          <a:xfrm>
            <a:off x="415600" y="719633"/>
            <a:ext cx="11360800" cy="171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accent1"/>
                </a:solidFill>
              </a:defRPr>
            </a:lvl1pPr>
            <a:lvl2pPr lvl="1">
              <a:buNone/>
              <a:defRPr>
                <a:solidFill>
                  <a:schemeClr val="accent1"/>
                </a:solidFill>
              </a:defRPr>
            </a:lvl2pPr>
            <a:lvl3pPr lvl="2">
              <a:buNone/>
              <a:defRPr>
                <a:solidFill>
                  <a:schemeClr val="accent1"/>
                </a:solidFill>
              </a:defRPr>
            </a:lvl3pPr>
            <a:lvl4pPr lvl="3">
              <a:buNone/>
              <a:defRPr>
                <a:solidFill>
                  <a:schemeClr val="accent1"/>
                </a:solidFill>
              </a:defRPr>
            </a:lvl4pPr>
            <a:lvl5pPr lvl="4">
              <a:buNone/>
              <a:defRPr>
                <a:solidFill>
                  <a:schemeClr val="accent1"/>
                </a:solidFill>
              </a:defRPr>
            </a:lvl5pPr>
            <a:lvl6pPr lvl="5">
              <a:buNone/>
              <a:defRPr>
                <a:solidFill>
                  <a:schemeClr val="accent1"/>
                </a:solidFill>
              </a:defRPr>
            </a:lvl6pPr>
            <a:lvl7pPr lvl="6">
              <a:buNone/>
              <a:defRPr>
                <a:solidFill>
                  <a:schemeClr val="accent1"/>
                </a:solidFill>
              </a:defRPr>
            </a:lvl7pPr>
            <a:lvl8pPr lvl="7">
              <a:buNone/>
              <a:defRPr>
                <a:solidFill>
                  <a:schemeClr val="accent1"/>
                </a:solidFill>
              </a:defRPr>
            </a:lvl8pPr>
            <a:lvl9pPr lvl="8">
              <a:buNone/>
              <a:defRPr>
                <a:solidFill>
                  <a:schemeClr val="accen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7276235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4"/>
          <p:cNvSpPr/>
          <p:nvPr/>
        </p:nvSpPr>
        <p:spPr>
          <a:xfrm>
            <a:off x="0" y="0"/>
            <a:ext cx="5752000" cy="6858000"/>
          </a:xfrm>
          <a:prstGeom prst="rect">
            <a:avLst/>
          </a:prstGeom>
          <a:solidFill>
            <a:srgbClr val="2174A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1" name="Google Shape;21;p4"/>
          <p:cNvSpPr/>
          <p:nvPr/>
        </p:nvSpPr>
        <p:spPr>
          <a:xfrm>
            <a:off x="1" y="58834"/>
            <a:ext cx="5751500" cy="5865833"/>
          </a:xfrm>
          <a:custGeom>
            <a:avLst/>
            <a:gdLst/>
            <a:ahLst/>
            <a:cxnLst/>
            <a:rect l="l" t="t" r="r" b="b"/>
            <a:pathLst>
              <a:path w="172545" h="175975" extrusionOk="0">
                <a:moveTo>
                  <a:pt x="0" y="157"/>
                </a:moveTo>
                <a:lnTo>
                  <a:pt x="172419" y="0"/>
                </a:lnTo>
                <a:lnTo>
                  <a:pt x="172545" y="126541"/>
                </a:lnTo>
                <a:lnTo>
                  <a:pt x="0" y="17597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</p:sp>
      <p:sp>
        <p:nvSpPr>
          <p:cNvPr id="22" name="Google Shape;22;p4"/>
          <p:cNvSpPr/>
          <p:nvPr/>
        </p:nvSpPr>
        <p:spPr>
          <a:xfrm>
            <a:off x="-167" y="0"/>
            <a:ext cx="5751261" cy="5714867"/>
          </a:xfrm>
          <a:custGeom>
            <a:avLst/>
            <a:gdLst/>
            <a:ahLst/>
            <a:cxnLst/>
            <a:rect l="l" t="t" r="r" b="b"/>
            <a:pathLst>
              <a:path w="172676" h="175824" extrusionOk="0">
                <a:moveTo>
                  <a:pt x="0" y="6"/>
                </a:moveTo>
                <a:lnTo>
                  <a:pt x="172676" y="0"/>
                </a:lnTo>
                <a:lnTo>
                  <a:pt x="172562" y="126442"/>
                </a:lnTo>
                <a:lnTo>
                  <a:pt x="0" y="175824"/>
                </a:lnTo>
                <a:close/>
              </a:path>
            </a:pathLst>
          </a:custGeom>
          <a:solidFill>
            <a:srgbClr val="C52026"/>
          </a:solidFill>
          <a:ln>
            <a:noFill/>
          </a:ln>
        </p:spPr>
      </p:sp>
      <p:sp>
        <p:nvSpPr>
          <p:cNvPr id="23" name="Google Shape;23;p4"/>
          <p:cNvSpPr txBox="1">
            <a:spLocks noGrp="1"/>
          </p:cNvSpPr>
          <p:nvPr>
            <p:ph type="title"/>
          </p:nvPr>
        </p:nvSpPr>
        <p:spPr>
          <a:xfrm>
            <a:off x="415633" y="667900"/>
            <a:ext cx="4942000" cy="334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body" idx="1"/>
          </p:nvPr>
        </p:nvSpPr>
        <p:spPr>
          <a:xfrm>
            <a:off x="6192900" y="667900"/>
            <a:ext cx="5555200" cy="546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14856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1219170" lvl="1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828754" lvl="2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2438339" lvl="3" indent="-397923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3047924" lvl="4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3657509" lvl="5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4267093" lvl="6" indent="-397923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4876678" lvl="7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5486263" lvl="8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25" name="Google Shape;25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264665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5"/>
          <p:cNvSpPr/>
          <p:nvPr/>
        </p:nvSpPr>
        <p:spPr>
          <a:xfrm>
            <a:off x="0" y="0"/>
            <a:ext cx="12192000" cy="1702800"/>
          </a:xfrm>
          <a:prstGeom prst="rect">
            <a:avLst/>
          </a:prstGeom>
          <a:solidFill>
            <a:srgbClr val="2174A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" name="Google Shape;28;p5"/>
          <p:cNvSpPr txBox="1">
            <a:spLocks noGrp="1"/>
          </p:cNvSpPr>
          <p:nvPr>
            <p:ph type="title"/>
          </p:nvPr>
        </p:nvSpPr>
        <p:spPr>
          <a:xfrm>
            <a:off x="415633" y="667900"/>
            <a:ext cx="11360800" cy="8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body" idx="1"/>
          </p:nvPr>
        </p:nvSpPr>
        <p:spPr>
          <a:xfrm>
            <a:off x="415600" y="2007600"/>
            <a:ext cx="5333200" cy="410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14856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1219170" lvl="1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828754" lvl="2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2438339" lvl="3" indent="-397923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3047924" lvl="4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3657509" lvl="5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4267093" lvl="6" indent="-397923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4876678" lvl="7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5486263" lvl="8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body" idx="2"/>
          </p:nvPr>
        </p:nvSpPr>
        <p:spPr>
          <a:xfrm>
            <a:off x="6443200" y="2007600"/>
            <a:ext cx="5333200" cy="410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14856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1219170" lvl="1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828754" lvl="2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2438339" lvl="3" indent="-397923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3047924" lvl="4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3657509" lvl="5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4267093" lvl="6" indent="-397923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4876678" lvl="7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5486263" lvl="8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444393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6"/>
          <p:cNvSpPr/>
          <p:nvPr/>
        </p:nvSpPr>
        <p:spPr>
          <a:xfrm>
            <a:off x="0" y="0"/>
            <a:ext cx="12192000" cy="1702800"/>
          </a:xfrm>
          <a:prstGeom prst="rect">
            <a:avLst/>
          </a:prstGeom>
          <a:solidFill>
            <a:srgbClr val="2174A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" name="Google Shape;34;p6"/>
          <p:cNvSpPr txBox="1">
            <a:spLocks noGrp="1"/>
          </p:cNvSpPr>
          <p:nvPr>
            <p:ph type="title"/>
          </p:nvPr>
        </p:nvSpPr>
        <p:spPr>
          <a:xfrm>
            <a:off x="415633" y="667900"/>
            <a:ext cx="11360800" cy="83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5" name="Google Shape;35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7347895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7"/>
          <p:cNvSpPr/>
          <p:nvPr/>
        </p:nvSpPr>
        <p:spPr>
          <a:xfrm>
            <a:off x="0" y="0"/>
            <a:ext cx="5019200" cy="6858000"/>
          </a:xfrm>
          <a:prstGeom prst="rect">
            <a:avLst/>
          </a:prstGeom>
          <a:solidFill>
            <a:srgbClr val="2174A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8" name="Google Shape;38;p7"/>
          <p:cNvSpPr txBox="1">
            <a:spLocks noGrp="1"/>
          </p:cNvSpPr>
          <p:nvPr>
            <p:ph type="title"/>
          </p:nvPr>
        </p:nvSpPr>
        <p:spPr>
          <a:xfrm>
            <a:off x="415633" y="667900"/>
            <a:ext cx="4170000" cy="243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15600" y="3187533"/>
            <a:ext cx="4170000" cy="306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14856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300"/>
              <a:buChar char="●"/>
              <a:defRPr>
                <a:solidFill>
                  <a:schemeClr val="accent2"/>
                </a:solidFill>
              </a:defRPr>
            </a:lvl1pPr>
            <a:lvl2pPr marL="1219170" lvl="1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○"/>
              <a:defRPr>
                <a:solidFill>
                  <a:schemeClr val="accent2"/>
                </a:solidFill>
              </a:defRPr>
            </a:lvl2pPr>
            <a:lvl3pPr marL="1828754" lvl="2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■"/>
              <a:defRPr>
                <a:solidFill>
                  <a:schemeClr val="accent2"/>
                </a:solidFill>
              </a:defRPr>
            </a:lvl3pPr>
            <a:lvl4pPr marL="2438339" lvl="3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●"/>
              <a:defRPr>
                <a:solidFill>
                  <a:schemeClr val="accent2"/>
                </a:solidFill>
              </a:defRPr>
            </a:lvl4pPr>
            <a:lvl5pPr marL="3047924" lvl="4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○"/>
              <a:defRPr>
                <a:solidFill>
                  <a:schemeClr val="accent2"/>
                </a:solidFill>
              </a:defRPr>
            </a:lvl5pPr>
            <a:lvl6pPr marL="3657509" lvl="5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■"/>
              <a:defRPr>
                <a:solidFill>
                  <a:schemeClr val="accent2"/>
                </a:solidFill>
              </a:defRPr>
            </a:lvl6pPr>
            <a:lvl7pPr marL="4267093" lvl="6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●"/>
              <a:defRPr>
                <a:solidFill>
                  <a:schemeClr val="accent2"/>
                </a:solidFill>
              </a:defRPr>
            </a:lvl7pPr>
            <a:lvl8pPr marL="4876678" lvl="7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○"/>
              <a:defRPr>
                <a:solidFill>
                  <a:schemeClr val="accent2"/>
                </a:solidFill>
              </a:defRPr>
            </a:lvl8pPr>
            <a:lvl9pPr marL="5486263" lvl="8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■"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40" name="Google Shape;40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727336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bg>
      <p:bgPr>
        <a:solidFill>
          <a:schemeClr val="accent3"/>
        </a:solidFill>
        <a:effectLst/>
      </p:bgPr>
    </p:bg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8"/>
          <p:cNvSpPr txBox="1">
            <a:spLocks noGrp="1"/>
          </p:cNvSpPr>
          <p:nvPr>
            <p:ph type="title"/>
          </p:nvPr>
        </p:nvSpPr>
        <p:spPr>
          <a:xfrm>
            <a:off x="415567" y="1064800"/>
            <a:ext cx="8330400" cy="4728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43" name="Google Shape;43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accent1"/>
                </a:solidFill>
              </a:defRPr>
            </a:lvl1pPr>
            <a:lvl2pPr lvl="1">
              <a:buNone/>
              <a:defRPr>
                <a:solidFill>
                  <a:schemeClr val="accent1"/>
                </a:solidFill>
              </a:defRPr>
            </a:lvl2pPr>
            <a:lvl3pPr lvl="2">
              <a:buNone/>
              <a:defRPr>
                <a:solidFill>
                  <a:schemeClr val="accent1"/>
                </a:solidFill>
              </a:defRPr>
            </a:lvl3pPr>
            <a:lvl4pPr lvl="3">
              <a:buNone/>
              <a:defRPr>
                <a:solidFill>
                  <a:schemeClr val="accent1"/>
                </a:solidFill>
              </a:defRPr>
            </a:lvl4pPr>
            <a:lvl5pPr lvl="4">
              <a:buNone/>
              <a:defRPr>
                <a:solidFill>
                  <a:schemeClr val="accent1"/>
                </a:solidFill>
              </a:defRPr>
            </a:lvl5pPr>
            <a:lvl6pPr lvl="5">
              <a:buNone/>
              <a:defRPr>
                <a:solidFill>
                  <a:schemeClr val="accent1"/>
                </a:solidFill>
              </a:defRPr>
            </a:lvl6pPr>
            <a:lvl7pPr lvl="6">
              <a:buNone/>
              <a:defRPr>
                <a:solidFill>
                  <a:schemeClr val="accent1"/>
                </a:solidFill>
              </a:defRPr>
            </a:lvl7pPr>
            <a:lvl8pPr lvl="7">
              <a:buNone/>
              <a:defRPr>
                <a:solidFill>
                  <a:schemeClr val="accent1"/>
                </a:solidFill>
              </a:defRPr>
            </a:lvl8pPr>
            <a:lvl9pPr lvl="8">
              <a:buNone/>
              <a:defRPr>
                <a:solidFill>
                  <a:schemeClr val="accen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5219735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ED5A72-E2F7-0E3B-0DDA-8AEE476CFD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86984"/>
            <a:ext cx="10515600" cy="4052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Placeholder 8">
            <a:extLst>
              <a:ext uri="{FF2B5EF4-FFF2-40B4-BE49-F238E27FC236}">
                <a16:creationId xmlns:a16="http://schemas.microsoft.com/office/drawing/2014/main" id="{D8D37926-3C4B-41C8-EFDB-911300C24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428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="0" spc="-15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98412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9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174A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6" name="Google Shape;46;p9"/>
          <p:cNvSpPr txBox="1">
            <a:spLocks noGrp="1"/>
          </p:cNvSpPr>
          <p:nvPr>
            <p:ph type="title"/>
          </p:nvPr>
        </p:nvSpPr>
        <p:spPr>
          <a:xfrm>
            <a:off x="415067" y="667900"/>
            <a:ext cx="4939200" cy="273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9"/>
          <p:cNvSpPr txBox="1">
            <a:spLocks noGrp="1"/>
          </p:cNvSpPr>
          <p:nvPr>
            <p:ph type="subTitle" idx="1"/>
          </p:nvPr>
        </p:nvSpPr>
        <p:spPr>
          <a:xfrm>
            <a:off x="406400" y="3502300"/>
            <a:ext cx="4939200" cy="123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2133">
                <a:solidFill>
                  <a:schemeClr val="accent2"/>
                </a:solidFill>
              </a:defRPr>
            </a:lvl1pPr>
            <a:lvl2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2133">
                <a:solidFill>
                  <a:schemeClr val="accent2"/>
                </a:solidFill>
              </a:defRPr>
            </a:lvl2pPr>
            <a:lvl3pPr lvl="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2133">
                <a:solidFill>
                  <a:schemeClr val="accent2"/>
                </a:solidFill>
              </a:defRPr>
            </a:lvl3pPr>
            <a:lvl4pPr lvl="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2133">
                <a:solidFill>
                  <a:schemeClr val="accent2"/>
                </a:solidFill>
              </a:defRPr>
            </a:lvl4pPr>
            <a:lvl5pPr lvl="4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2133">
                <a:solidFill>
                  <a:schemeClr val="accent2"/>
                </a:solidFill>
              </a:defRPr>
            </a:lvl5pPr>
            <a:lvl6pPr lvl="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2133">
                <a:solidFill>
                  <a:schemeClr val="accent2"/>
                </a:solidFill>
              </a:defRPr>
            </a:lvl6pPr>
            <a:lvl7pPr lvl="6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2133">
                <a:solidFill>
                  <a:schemeClr val="accent2"/>
                </a:solidFill>
              </a:defRPr>
            </a:lvl7pPr>
            <a:lvl8pPr lvl="7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2133">
                <a:solidFill>
                  <a:schemeClr val="accent2"/>
                </a:solidFill>
              </a:defRPr>
            </a:lvl8pPr>
            <a:lvl9pPr lvl="8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None/>
              <a:defRPr sz="2133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48" name="Google Shape;48;p9"/>
          <p:cNvSpPr txBox="1">
            <a:spLocks noGrp="1"/>
          </p:cNvSpPr>
          <p:nvPr>
            <p:ph type="body" idx="2"/>
          </p:nvPr>
        </p:nvSpPr>
        <p:spPr>
          <a:xfrm>
            <a:off x="6505367" y="667900"/>
            <a:ext cx="5272000" cy="548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14856">
              <a:spcBef>
                <a:spcPts val="0"/>
              </a:spcBef>
              <a:spcAft>
                <a:spcPts val="0"/>
              </a:spcAft>
              <a:buSzPts val="1300"/>
              <a:buChar char="●"/>
              <a:defRPr/>
            </a:lvl1pPr>
            <a:lvl2pPr marL="1219170" lvl="1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2pPr>
            <a:lvl3pPr marL="1828754" lvl="2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3pPr>
            <a:lvl4pPr marL="2438339" lvl="3" indent="-397923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4pPr>
            <a:lvl5pPr marL="3047924" lvl="4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5pPr>
            <a:lvl6pPr marL="3657509" lvl="5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6pPr>
            <a:lvl7pPr marL="4267093" lvl="6" indent="-397923">
              <a:spcBef>
                <a:spcPts val="0"/>
              </a:spcBef>
              <a:spcAft>
                <a:spcPts val="0"/>
              </a:spcAft>
              <a:buSzPts val="1100"/>
              <a:buChar char="●"/>
              <a:defRPr/>
            </a:lvl7pPr>
            <a:lvl8pPr marL="4876678" lvl="7" indent="-397923">
              <a:spcBef>
                <a:spcPts val="0"/>
              </a:spcBef>
              <a:spcAft>
                <a:spcPts val="0"/>
              </a:spcAft>
              <a:buSzPts val="1100"/>
              <a:buChar char="○"/>
              <a:defRPr/>
            </a:lvl8pPr>
            <a:lvl9pPr marL="5486263" lvl="8" indent="-397923">
              <a:spcBef>
                <a:spcPts val="0"/>
              </a:spcBef>
              <a:spcAft>
                <a:spcPts val="0"/>
              </a:spcAft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49" name="Google Shape;49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613835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0"/>
          <p:cNvSpPr/>
          <p:nvPr/>
        </p:nvSpPr>
        <p:spPr>
          <a:xfrm>
            <a:off x="0" y="5825333"/>
            <a:ext cx="12192000" cy="10324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2" name="Google Shape;52;p10"/>
          <p:cNvSpPr txBox="1">
            <a:spLocks noGrp="1"/>
          </p:cNvSpPr>
          <p:nvPr>
            <p:ph type="body" idx="1"/>
          </p:nvPr>
        </p:nvSpPr>
        <p:spPr>
          <a:xfrm>
            <a:off x="415600" y="6028533"/>
            <a:ext cx="10639200" cy="614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00"/>
              <a:buFont typeface="Merriweather"/>
              <a:buNone/>
              <a:defRPr>
                <a:solidFill>
                  <a:schemeClr val="lt1"/>
                </a:solidFill>
                <a:latin typeface="Merriweather"/>
                <a:ea typeface="Merriweather"/>
                <a:cs typeface="Merriweather"/>
                <a:sym typeface="Merriweather"/>
              </a:defRPr>
            </a:lvl1pPr>
          </a:lstStyle>
          <a:p>
            <a:endParaRPr/>
          </a:p>
        </p:txBody>
      </p:sp>
      <p:sp>
        <p:nvSpPr>
          <p:cNvPr id="53" name="Google Shape;5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670930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bg>
      <p:bgPr>
        <a:solidFill>
          <a:srgbClr val="2174A5"/>
        </a:solidFill>
        <a:effectLst/>
      </p:bgPr>
    </p:bg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1"/>
          <p:cNvSpPr txBox="1">
            <a:spLocks noGrp="1"/>
          </p:cNvSpPr>
          <p:nvPr>
            <p:ph type="title" hasCustomPrompt="1"/>
          </p:nvPr>
        </p:nvSpPr>
        <p:spPr>
          <a:xfrm>
            <a:off x="415667" y="1108233"/>
            <a:ext cx="7113200" cy="165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3333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3333">
                <a:solidFill>
                  <a:schemeClr val="lt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3333">
                <a:solidFill>
                  <a:schemeClr val="lt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3333">
                <a:solidFill>
                  <a:schemeClr val="lt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3333">
                <a:solidFill>
                  <a:schemeClr val="lt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3333">
                <a:solidFill>
                  <a:schemeClr val="lt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3333">
                <a:solidFill>
                  <a:schemeClr val="lt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3333">
                <a:solidFill>
                  <a:schemeClr val="lt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0"/>
              <a:buNone/>
              <a:defRPr sz="13333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56" name="Google Shape;56;p11"/>
          <p:cNvSpPr txBox="1">
            <a:spLocks noGrp="1"/>
          </p:cNvSpPr>
          <p:nvPr>
            <p:ph type="body" idx="1"/>
          </p:nvPr>
        </p:nvSpPr>
        <p:spPr>
          <a:xfrm>
            <a:off x="415600" y="2828567"/>
            <a:ext cx="7113200" cy="12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14856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300"/>
              <a:buChar char="●"/>
              <a:defRPr>
                <a:solidFill>
                  <a:schemeClr val="accent2"/>
                </a:solidFill>
              </a:defRPr>
            </a:lvl1pPr>
            <a:lvl2pPr marL="1219170" lvl="1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○"/>
              <a:defRPr>
                <a:solidFill>
                  <a:schemeClr val="accent2"/>
                </a:solidFill>
              </a:defRPr>
            </a:lvl2pPr>
            <a:lvl3pPr marL="1828754" lvl="2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■"/>
              <a:defRPr>
                <a:solidFill>
                  <a:schemeClr val="accent2"/>
                </a:solidFill>
              </a:defRPr>
            </a:lvl3pPr>
            <a:lvl4pPr marL="2438339" lvl="3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●"/>
              <a:defRPr>
                <a:solidFill>
                  <a:schemeClr val="accent2"/>
                </a:solidFill>
              </a:defRPr>
            </a:lvl4pPr>
            <a:lvl5pPr marL="3047924" lvl="4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○"/>
              <a:defRPr>
                <a:solidFill>
                  <a:schemeClr val="accent2"/>
                </a:solidFill>
              </a:defRPr>
            </a:lvl5pPr>
            <a:lvl6pPr marL="3657509" lvl="5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■"/>
              <a:defRPr>
                <a:solidFill>
                  <a:schemeClr val="accent2"/>
                </a:solidFill>
              </a:defRPr>
            </a:lvl6pPr>
            <a:lvl7pPr marL="4267093" lvl="6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●"/>
              <a:defRPr>
                <a:solidFill>
                  <a:schemeClr val="accent2"/>
                </a:solidFill>
              </a:defRPr>
            </a:lvl7pPr>
            <a:lvl8pPr marL="4876678" lvl="7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○"/>
              <a:defRPr>
                <a:solidFill>
                  <a:schemeClr val="accent2"/>
                </a:solidFill>
              </a:defRPr>
            </a:lvl8pPr>
            <a:lvl9pPr marL="5486263" lvl="8" indent="-39792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100"/>
              <a:buChar char="■"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57" name="Google Shape;5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386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6971429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0924193-02B9-9810-A50A-C323F20B00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6112"/>
            <a:ext cx="12192000" cy="6858000"/>
          </a:xfrm>
          <a:prstGeom prst="rect">
            <a:avLst/>
          </a:prstGeom>
        </p:spPr>
      </p:pic>
      <p:pic>
        <p:nvPicPr>
          <p:cNvPr id="7" name="Picture 6" descr="A picture containing fog, screenshot, blur&#10;&#10;Description automatically generated">
            <a:extLst>
              <a:ext uri="{FF2B5EF4-FFF2-40B4-BE49-F238E27FC236}">
                <a16:creationId xmlns:a16="http://schemas.microsoft.com/office/drawing/2014/main" id="{BD671DD8-DB66-3B92-A1B6-23D8B89C2A4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7A35BE-2442-7C64-032F-EEC3B84E8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0525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 spc="-15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D8DA3C-9A4F-10ED-C6D4-40AC09EDE5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3712387"/>
            <a:ext cx="10515600" cy="15001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A65D87-AFBC-843E-1CA6-0F0D9EB66B62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C97040BC-7CEF-FBD5-14E8-B96311C9FE3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24033" y="6133786"/>
            <a:ext cx="2642822" cy="556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0697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55C14D-8924-F22D-FF6C-1CEECDCEA3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2119256"/>
            <a:ext cx="5181600" cy="40577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748EB7-DF60-9429-B7C4-F17C2FD195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19256"/>
            <a:ext cx="5181600" cy="40577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8">
            <a:extLst>
              <a:ext uri="{FF2B5EF4-FFF2-40B4-BE49-F238E27FC236}">
                <a16:creationId xmlns:a16="http://schemas.microsoft.com/office/drawing/2014/main" id="{09305E6D-E633-8F98-0EDC-7F3C0166DB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428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pc="-15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0580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07D04F-CFDA-AB0A-0CB3-633767A38D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6612" y="2109863"/>
            <a:ext cx="5157787" cy="6759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E417A7-92FA-2590-1532-B39F1253F8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861535"/>
            <a:ext cx="5157787" cy="33281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583ECC-3794-AE5F-27B5-A74B4DEC73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109863"/>
            <a:ext cx="5183188" cy="67593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74E5DA7-1D14-860C-86DA-E26B78A695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861535"/>
            <a:ext cx="5183188" cy="33281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itle Placeholder 8">
            <a:extLst>
              <a:ext uri="{FF2B5EF4-FFF2-40B4-BE49-F238E27FC236}">
                <a16:creationId xmlns:a16="http://schemas.microsoft.com/office/drawing/2014/main" id="{AA033EDD-4130-6D25-944B-3C4E62F04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428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pc="-15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1365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AFE5DF1-48AB-E0EB-F43E-6ACA748DB7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picture containing text, screenshot, envelope, stationary&#10;&#10;Description automatically generated">
            <a:extLst>
              <a:ext uri="{FF2B5EF4-FFF2-40B4-BE49-F238E27FC236}">
                <a16:creationId xmlns:a16="http://schemas.microsoft.com/office/drawing/2014/main" id="{C1C0FFF0-5075-CF61-E3DA-7EA0ED407CC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5A7959-19EC-57EE-7E3C-D0AA505DBD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82157"/>
            <a:ext cx="10515600" cy="109368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6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20BCF7B-22B6-6253-4D64-9AD634D23090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05197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F0BC1E5-8CCE-BA2E-FCAF-D803E35C5BB4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  <p:pic>
        <p:nvPicPr>
          <p:cNvPr id="5" name="Picture 4" descr="A picture containing fog, screenshot, blur&#10;&#10;Description automatically generated">
            <a:extLst>
              <a:ext uri="{FF2B5EF4-FFF2-40B4-BE49-F238E27FC236}">
                <a16:creationId xmlns:a16="http://schemas.microsoft.com/office/drawing/2014/main" id="{7439D200-687F-1A35-0FE3-6C8A886934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 descr="A black and white logo&#10;&#10;Description automatically generated">
            <a:extLst>
              <a:ext uri="{FF2B5EF4-FFF2-40B4-BE49-F238E27FC236}">
                <a16:creationId xmlns:a16="http://schemas.microsoft.com/office/drawing/2014/main" id="{C54FC1CB-AE67-CB1C-35FD-36F5211323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24033" y="6133786"/>
            <a:ext cx="2642822" cy="556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225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text, screenshot, envelope, stationary&#10;&#10;Description automatically generated">
            <a:extLst>
              <a:ext uri="{FF2B5EF4-FFF2-40B4-BE49-F238E27FC236}">
                <a16:creationId xmlns:a16="http://schemas.microsoft.com/office/drawing/2014/main" id="{C98BCF38-2DC6-B6A1-4F78-590B1BDDE2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C0DFDD0-A0F2-83DC-8B7C-F0E019570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168" y="996950"/>
            <a:ext cx="3932237" cy="1600200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17D2E1-E1A8-E3A2-FBE0-B7BCE986DF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A7E9988-0A31-7185-4BB3-3C4229E099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21169" y="2774373"/>
            <a:ext cx="3932237" cy="3086677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D28B3D-8AA7-7411-73DB-702ACCECC369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3813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ext, screenshot, envelope, stationary&#10;&#10;Description automatically generated">
            <a:extLst>
              <a:ext uri="{FF2B5EF4-FFF2-40B4-BE49-F238E27FC236}">
                <a16:creationId xmlns:a16="http://schemas.microsoft.com/office/drawing/2014/main" id="{342569E2-6A72-3DCA-A745-FF35C7E6ED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047FD8C-2415-7AF2-D9F7-2FD9A5E45B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75B6969-06CB-5136-72BE-7F36D6601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168" y="996950"/>
            <a:ext cx="3932237" cy="1600200"/>
          </a:xfrm>
          <a:prstGeom prst="rect">
            <a:avLst/>
          </a:prstGeom>
        </p:spPr>
        <p:txBody>
          <a:bodyPr anchor="t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5190A3B-C978-9A37-3EC2-7DD786CF89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21169" y="2774373"/>
            <a:ext cx="3932237" cy="3086677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551DB3-822F-D681-37C0-3180279A1079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919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blue and white rectangle&#10;&#10;Description automatically generated with medium confidence">
            <a:extLst>
              <a:ext uri="{FF2B5EF4-FFF2-40B4-BE49-F238E27FC236}">
                <a16:creationId xmlns:a16="http://schemas.microsoft.com/office/drawing/2014/main" id="{798CE026-D2F3-C172-A33A-A1429F11C515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F07E45-5358-D826-413C-524778517A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089013"/>
            <a:ext cx="10515600" cy="40879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4B734709-A90C-544A-96B6-4BCE82CBBB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0428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00C52F-DC60-BE86-6751-7E45895AE1B5}"/>
              </a:ext>
            </a:extLst>
          </p:cNvPr>
          <p:cNvSpPr txBox="1"/>
          <p:nvPr userDrawn="1"/>
        </p:nvSpPr>
        <p:spPr>
          <a:xfrm>
            <a:off x="11353800" y="6379285"/>
            <a:ext cx="565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B7E03E9B-E934-2C4D-ADCE-95F69DF73B50}" type="slidenum">
              <a:rPr lang="en-US" sz="2000" b="1" smtClean="0">
                <a:solidFill>
                  <a:srgbClr val="8397E7"/>
                </a:solidFill>
              </a:rPr>
              <a:pPr algn="ctr"/>
              <a:t>‹#›</a:t>
            </a:fld>
            <a:endParaRPr lang="en-US" sz="2000" b="1">
              <a:solidFill>
                <a:srgbClr val="8397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308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spc="-15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Merriweather"/>
              <a:buNone/>
              <a:defRPr sz="2800">
                <a:solidFill>
                  <a:schemeClr val="accent1"/>
                </a:solidFill>
                <a:latin typeface="Merriweather"/>
                <a:ea typeface="Merriweather"/>
                <a:cs typeface="Merriweather"/>
                <a:sym typeface="Merriweather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11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00"/>
              <a:buFont typeface="Roboto"/>
              <a:buChar char="●"/>
              <a:defRPr sz="13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lvl="1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○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lvl="2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■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lvl="3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●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lvl="4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○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lvl="5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■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lvl="6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●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lvl="7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○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lvl="8" indent="-2984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Roboto"/>
              <a:buChar char="■"/>
              <a:defRPr sz="1100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333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algn="r">
              <a:buNone/>
              <a:defRPr sz="1333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lvl="2" algn="r">
              <a:buNone/>
              <a:defRPr sz="1333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lvl="3" algn="r">
              <a:buNone/>
              <a:defRPr sz="1333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lvl="4" algn="r">
              <a:buNone/>
              <a:defRPr sz="1333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lvl="5" algn="r">
              <a:buNone/>
              <a:defRPr sz="1333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lvl="6" algn="r">
              <a:buNone/>
              <a:defRPr sz="1333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lvl="7" algn="r">
              <a:buNone/>
              <a:defRPr sz="1333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lvl="8" algn="r">
              <a:buNone/>
              <a:defRPr sz="1333">
                <a:solidFill>
                  <a:schemeClr val="dk2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94622256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4B4766-0EE3-8028-2E23-5FACFF0960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965" y="1302097"/>
            <a:ext cx="11016288" cy="2118805"/>
          </a:xfrm>
        </p:spPr>
        <p:txBody>
          <a:bodyPr>
            <a:noAutofit/>
          </a:bodyPr>
          <a:lstStyle/>
          <a:p>
            <a:br>
              <a:rPr lang="en-US" sz="5400" dirty="0">
                <a:latin typeface="Arial"/>
                <a:cs typeface="Arial"/>
              </a:rPr>
            </a:br>
            <a:br>
              <a:rPr lang="en-US" sz="5400" dirty="0">
                <a:latin typeface="Arial"/>
                <a:cs typeface="Arial"/>
              </a:rPr>
            </a:br>
            <a:r>
              <a:rPr lang="en-US" sz="5400" dirty="0">
                <a:latin typeface="Arial"/>
                <a:cs typeface="Arial"/>
              </a:rPr>
              <a:t>Supports for Newly Arrived Students</a:t>
            </a:r>
            <a:br>
              <a:rPr lang="en-US" sz="5400" dirty="0">
                <a:latin typeface="Arial"/>
                <a:cs typeface="Arial"/>
              </a:rPr>
            </a:br>
            <a:r>
              <a:rPr lang="en-US" sz="5400" dirty="0">
                <a:latin typeface="Arial"/>
                <a:cs typeface="Arial"/>
              </a:rPr>
              <a:t>Experiencing Homelessnes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1FB839-A537-685A-EE8C-AF8C11F1A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5838" y="4853758"/>
            <a:ext cx="11020735" cy="1183626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/>
          </a:p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960D0C-2D7A-EC3D-7915-70523475690D}"/>
              </a:ext>
            </a:extLst>
          </p:cNvPr>
          <p:cNvSpPr txBox="1"/>
          <p:nvPr/>
        </p:nvSpPr>
        <p:spPr>
          <a:xfrm>
            <a:off x="659220" y="3651038"/>
            <a:ext cx="10200609" cy="15696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>
                <a:latin typeface="Arial"/>
                <a:cs typeface="Arial"/>
              </a:rPr>
              <a:t>June 18, 2024</a:t>
            </a:r>
            <a:endParaRPr lang="en-US">
              <a:latin typeface="Calibri" panose="020F0502020204030204"/>
              <a:cs typeface="Calibri" panose="020F0502020204030204"/>
            </a:endParaRPr>
          </a:p>
          <a:p>
            <a:r>
              <a:rPr lang="en-US" sz="2400">
                <a:latin typeface="Arial"/>
                <a:cs typeface="Arial"/>
              </a:rPr>
              <a:t>Komal Bhasin, Chief Schools Officer</a:t>
            </a:r>
            <a:endParaRPr lang="en-US">
              <a:latin typeface="Calibri" panose="020F0502020204030204"/>
              <a:cs typeface="Calibri"/>
            </a:endParaRPr>
          </a:p>
          <a:p>
            <a:r>
              <a:rPr lang="en-US" sz="2400">
                <a:latin typeface="Arial"/>
                <a:cs typeface="Arial"/>
              </a:rPr>
              <a:t>Allison Balter, Director, Office of Language Acquisition</a:t>
            </a:r>
            <a:endParaRPr lang="en-US">
              <a:latin typeface="Calibri" panose="020F0502020204030204"/>
              <a:cs typeface="Calibri"/>
            </a:endParaRPr>
          </a:p>
          <a:p>
            <a:r>
              <a:rPr lang="en-US" sz="2400">
                <a:latin typeface="Arial"/>
                <a:cs typeface="Arial"/>
              </a:rPr>
              <a:t>Kristen McKinnon, Assistant Director, Student and Family Support</a:t>
            </a:r>
            <a:endParaRPr lang="en-US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102121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latin typeface="Calibri"/>
                <a:cs typeface="Segoe UI Semibold"/>
              </a:rPr>
              <a:t>New Instructional Supports for Districts Welcoming Newly Arrived Students 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6700" y="2010965"/>
            <a:ext cx="11087100" cy="415839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514350"/>
            <a:r>
              <a:rPr lang="en-US" sz="3200">
                <a:latin typeface="Calibri"/>
                <a:cs typeface="Calibri"/>
              </a:rPr>
              <a:t>Translation and interpretation</a:t>
            </a:r>
            <a:endParaRPr lang="en-US"/>
          </a:p>
          <a:p>
            <a:pPr marL="514350"/>
            <a:r>
              <a:rPr lang="en-US" sz="3200">
                <a:latin typeface="Calibri"/>
                <a:cs typeface="Calibri"/>
              </a:rPr>
              <a:t>In-person and virtual technical assistance </a:t>
            </a:r>
            <a:endParaRPr lang="en-US" sz="3200"/>
          </a:p>
          <a:p>
            <a:pPr marL="514350"/>
            <a:r>
              <a:rPr lang="en-US" sz="3200">
                <a:latin typeface="Calibri"/>
                <a:cs typeface="Calibri"/>
              </a:rPr>
              <a:t>Building educator capacity</a:t>
            </a:r>
            <a:endParaRPr lang="en-US" sz="3200"/>
          </a:p>
          <a:p>
            <a:pPr marL="1428750" lvl="2"/>
            <a:r>
              <a:rPr lang="en-US" sz="2400">
                <a:latin typeface="Calibri"/>
                <a:cs typeface="Calibri"/>
              </a:rPr>
              <a:t>RETELL Courses</a:t>
            </a:r>
            <a:endParaRPr lang="en-US" sz="2400"/>
          </a:p>
          <a:p>
            <a:pPr marL="1428750" lvl="2"/>
            <a:r>
              <a:rPr lang="en-US" sz="2400">
                <a:latin typeface="Calibri"/>
                <a:cs typeface="Calibri"/>
              </a:rPr>
              <a:t>ESL Certification Grant</a:t>
            </a:r>
            <a:endParaRPr lang="en-US" sz="2400"/>
          </a:p>
          <a:p>
            <a:pPr marL="1428750" lvl="2"/>
            <a:r>
              <a:rPr lang="en-US" sz="2400">
                <a:latin typeface="Calibri"/>
                <a:cs typeface="Calibri"/>
              </a:rPr>
              <a:t>ESL MTEL Modules</a:t>
            </a:r>
            <a:endParaRPr lang="en-US" sz="2400"/>
          </a:p>
          <a:p>
            <a:pPr marL="514350"/>
            <a:r>
              <a:rPr lang="en-US" sz="3200">
                <a:latin typeface="Calibri"/>
                <a:cs typeface="Calibri"/>
              </a:rPr>
              <a:t>Professional development and coaching</a:t>
            </a:r>
          </a:p>
          <a:p>
            <a:pPr marL="514350"/>
            <a:r>
              <a:rPr lang="en-US" sz="3200">
                <a:latin typeface="Calibri"/>
                <a:cs typeface="Calibri"/>
              </a:rPr>
              <a:t>Needs assessment &amp; direct technical assistance by DESE staff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1A147054-7621-3A76-2AD5-EC9A36AB5C00}"/>
              </a:ext>
            </a:extLst>
          </p:cNvPr>
          <p:cNvSpPr/>
          <p:nvPr/>
        </p:nvSpPr>
        <p:spPr>
          <a:xfrm>
            <a:off x="8236480" y="1712295"/>
            <a:ext cx="3471333" cy="2349500"/>
          </a:xfrm>
          <a:prstGeom prst="roundRect">
            <a:avLst/>
          </a:prstGeom>
          <a:solidFill>
            <a:schemeClr val="accent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US" b="1">
                <a:solidFill>
                  <a:schemeClr val="tx1"/>
                </a:solidFill>
                <a:cs typeface="Calibri"/>
              </a:rPr>
              <a:t>Development of supports is ongoing and informed by meetings with districts, our MASS Task Force, and other stakeholders, including direct visits from the DESE team.</a:t>
            </a:r>
          </a:p>
        </p:txBody>
      </p:sp>
    </p:spTree>
    <p:extLst>
      <p:ext uri="{BB962C8B-B14F-4D97-AF65-F5344CB8AC3E}">
        <p14:creationId xmlns:p14="http://schemas.microsoft.com/office/powerpoint/2010/main" val="4317311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81DF64-0756-BA91-9188-FA041AD4F1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latin typeface="Calibri"/>
                <a:cs typeface="Arial"/>
              </a:rPr>
              <a:t>Instructional Supports: </a:t>
            </a:r>
            <a:br>
              <a:rPr lang="en-US">
                <a:latin typeface="Calibri"/>
                <a:cs typeface="Arial"/>
              </a:rPr>
            </a:br>
            <a:r>
              <a:rPr lang="en-US">
                <a:latin typeface="Calibri"/>
                <a:cs typeface="Arial"/>
              </a:rPr>
              <a:t>Ongoing, Tailored Professional Learning </a:t>
            </a:r>
            <a:endParaRPr lang="en-US">
              <a:latin typeface="Calibri"/>
            </a:endParaRPr>
          </a:p>
        </p:txBody>
      </p:sp>
      <p:pic>
        <p:nvPicPr>
          <p:cNvPr id="8" name="Picture 7" descr="Confianza | Equity, Language and Literacy">
            <a:extLst>
              <a:ext uri="{FF2B5EF4-FFF2-40B4-BE49-F238E27FC236}">
                <a16:creationId xmlns:a16="http://schemas.microsoft.com/office/drawing/2014/main" id="{D594B3F6-F3E5-FD49-F5B7-DDAE53FDC1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4321" y="1709608"/>
            <a:ext cx="2161674" cy="2115310"/>
          </a:xfrm>
          <a:prstGeom prst="rect">
            <a:avLst/>
          </a:prstGeom>
        </p:spPr>
      </p:pic>
      <p:pic>
        <p:nvPicPr>
          <p:cNvPr id="7" name="Picture 6" descr="Federation for Children with Special Needs - Idealist">
            <a:extLst>
              <a:ext uri="{FF2B5EF4-FFF2-40B4-BE49-F238E27FC236}">
                <a16:creationId xmlns:a16="http://schemas.microsoft.com/office/drawing/2014/main" id="{B0B56991-C892-A167-0339-DE6D5C6B1D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14181" y="1838184"/>
            <a:ext cx="3023934" cy="1858157"/>
          </a:xfrm>
          <a:prstGeom prst="rect">
            <a:avLst/>
          </a:prstGeom>
        </p:spPr>
      </p:pic>
      <p:pic>
        <p:nvPicPr>
          <p:cNvPr id="6" name="Picture 5" descr="SupportEd, LLC | LinkedIn">
            <a:extLst>
              <a:ext uri="{FF2B5EF4-FFF2-40B4-BE49-F238E27FC236}">
                <a16:creationId xmlns:a16="http://schemas.microsoft.com/office/drawing/2014/main" id="{DD1F2304-28E8-E6A3-D276-3C66F5450BD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27" t="18220" r="-427"/>
          <a:stretch/>
        </p:blipFill>
        <p:spPr>
          <a:xfrm>
            <a:off x="8432018" y="1714500"/>
            <a:ext cx="3096252" cy="255420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63CB92C-CBBF-D15E-0FDC-AE8377A55411}"/>
              </a:ext>
            </a:extLst>
          </p:cNvPr>
          <p:cNvSpPr txBox="1"/>
          <p:nvPr/>
        </p:nvSpPr>
        <p:spPr>
          <a:xfrm>
            <a:off x="548486" y="3823894"/>
            <a:ext cx="3433105" cy="25853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cs typeface="Calibri"/>
              </a:rPr>
              <a:t>Supporting newcomer students </a:t>
            </a:r>
          </a:p>
          <a:p>
            <a:endParaRPr lang="en-US" b="1">
              <a:cs typeface="Calibri"/>
            </a:endParaRPr>
          </a:p>
          <a:p>
            <a:r>
              <a:rPr lang="en-US" b="1" err="1">
                <a:cs typeface="Calibri"/>
              </a:rPr>
              <a:t>Confianza</a:t>
            </a:r>
            <a:r>
              <a:rPr lang="en-US" b="1">
                <a:cs typeface="Calibri"/>
              </a:rPr>
              <a:t> </a:t>
            </a:r>
            <a:r>
              <a:rPr lang="en-US">
                <a:cs typeface="Calibri"/>
              </a:rPr>
              <a:t>led two year-long virtual Communities of Practice (~20 district teams) to help districts learn from each other, unpack best practices for newcomer support, and action-plan for their context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FBC019-A858-0788-C177-58B6E5EAB58E}"/>
              </a:ext>
            </a:extLst>
          </p:cNvPr>
          <p:cNvSpPr txBox="1"/>
          <p:nvPr/>
        </p:nvSpPr>
        <p:spPr>
          <a:xfrm>
            <a:off x="4511203" y="3824307"/>
            <a:ext cx="3411620" cy="230832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cs typeface="Calibri"/>
              </a:rPr>
              <a:t>Family engagement for newly arrived students</a:t>
            </a:r>
          </a:p>
          <a:p>
            <a:endParaRPr lang="en-US" b="1">
              <a:cs typeface="Calibri"/>
            </a:endParaRPr>
          </a:p>
          <a:p>
            <a:r>
              <a:rPr lang="en-US" b="1">
                <a:cs typeface="Calibri"/>
              </a:rPr>
              <a:t>FCSN</a:t>
            </a:r>
            <a:r>
              <a:rPr lang="en-US">
                <a:cs typeface="Calibri"/>
              </a:rPr>
              <a:t> hosted 5 webinars, two 10-hour virtual training courses, and a monthly virtual Community of Practice for districts focusing on newcomer family engagement.</a:t>
            </a:r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21B9EC6-3315-07A6-587E-340B5FCDB93C}"/>
              </a:ext>
            </a:extLst>
          </p:cNvPr>
          <p:cNvSpPr txBox="1"/>
          <p:nvPr/>
        </p:nvSpPr>
        <p:spPr>
          <a:xfrm>
            <a:off x="8505779" y="3827296"/>
            <a:ext cx="3599852" cy="25853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cs typeface="Calibri"/>
              </a:rPr>
              <a:t>Individualized consultation and capacity-building</a:t>
            </a:r>
          </a:p>
          <a:p>
            <a:endParaRPr lang="en-US" b="1">
              <a:cs typeface="Calibri"/>
            </a:endParaRPr>
          </a:p>
          <a:p>
            <a:r>
              <a:rPr lang="en-US" b="1" err="1">
                <a:cs typeface="Calibri"/>
              </a:rPr>
              <a:t>SupportEd</a:t>
            </a:r>
            <a:r>
              <a:rPr lang="en-US" b="1">
                <a:cs typeface="Calibri"/>
              </a:rPr>
              <a:t> </a:t>
            </a:r>
            <a:r>
              <a:rPr lang="en-US">
                <a:cs typeface="Calibri"/>
              </a:rPr>
              <a:t>provided individualized technical assistance, including an in-person needs assessment and follow-up consultation, for 10 districts who want to dig deeper into their programs and practices. 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1781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E96D76-6484-7599-AF2E-6337547EF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Agenda   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31989D3-C7FD-0E8F-293B-72C83BF238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Massachusetts Context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Whole-Child Supports</a:t>
            </a:r>
          </a:p>
          <a:p>
            <a:r>
              <a:rPr lang="en-US">
                <a:latin typeface="Arial"/>
                <a:cs typeface="Arial"/>
              </a:rPr>
              <a:t>Instructional Supports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District Presentation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C10A474-2443-34C8-FEF0-279F237C60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2203" y="3571874"/>
            <a:ext cx="5429249" cy="702469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9721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0CA969-1989-EA4E-92A2-D6DAE68325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District Presentation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15EB26F-522D-8662-EE29-064FFBFE1A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Dr. Steven Zrike, Salem Public Schools</a:t>
            </a:r>
          </a:p>
          <a:p>
            <a:r>
              <a:rPr lang="en-US">
                <a:latin typeface="Arial"/>
                <a:cs typeface="Arial"/>
              </a:rPr>
              <a:t>Ellen Wingard, Executive Director of Student Supports</a:t>
            </a:r>
          </a:p>
        </p:txBody>
      </p:sp>
    </p:spTree>
    <p:extLst>
      <p:ext uri="{BB962C8B-B14F-4D97-AF65-F5344CB8AC3E}">
        <p14:creationId xmlns:p14="http://schemas.microsoft.com/office/powerpoint/2010/main" val="14052171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Google Shape;64;p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49133" y="33"/>
            <a:ext cx="12241135" cy="6857968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65;p13"/>
          <p:cNvSpPr txBox="1">
            <a:spLocks noGrp="1"/>
          </p:cNvSpPr>
          <p:nvPr>
            <p:ph type="ctrTitle"/>
          </p:nvPr>
        </p:nvSpPr>
        <p:spPr>
          <a:xfrm>
            <a:off x="6748767" y="4863500"/>
            <a:ext cx="5512000" cy="989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>
              <a:buSzPts val="990"/>
            </a:pPr>
            <a:r>
              <a:rPr lang="en" sz="2667">
                <a:solidFill>
                  <a:schemeClr val="lt1"/>
                </a:solidFill>
              </a:rPr>
              <a:t>Salem Public Schools</a:t>
            </a:r>
            <a:endParaRPr sz="2667">
              <a:solidFill>
                <a:schemeClr val="lt1"/>
              </a:solidFill>
            </a:endParaRPr>
          </a:p>
          <a:p>
            <a:pPr algn="ctr">
              <a:buSzPts val="990"/>
            </a:pPr>
            <a:r>
              <a:rPr lang="en" sz="2667">
                <a:solidFill>
                  <a:schemeClr val="lt1"/>
                </a:solidFill>
              </a:rPr>
              <a:t>Welcoming Newcomers</a:t>
            </a:r>
            <a:endParaRPr sz="2667">
              <a:solidFill>
                <a:schemeClr val="lt1"/>
              </a:solidFill>
            </a:endParaRPr>
          </a:p>
        </p:txBody>
      </p:sp>
      <p:sp>
        <p:nvSpPr>
          <p:cNvPr id="66" name="Google Shape;66;p13"/>
          <p:cNvSpPr txBox="1">
            <a:spLocks noGrp="1"/>
          </p:cNvSpPr>
          <p:nvPr>
            <p:ph type="subTitle" idx="1"/>
          </p:nvPr>
        </p:nvSpPr>
        <p:spPr>
          <a:xfrm>
            <a:off x="7628767" y="5754467"/>
            <a:ext cx="3752000" cy="6288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pPr marL="0" indent="0" algn="ctr"/>
            <a:r>
              <a:rPr lang="en">
                <a:solidFill>
                  <a:schemeClr val="lt1"/>
                </a:solidFill>
              </a:rPr>
              <a:t>6.18.24</a:t>
            </a:r>
            <a:endParaRPr>
              <a:solidFill>
                <a:schemeClr val="lt1"/>
              </a:solidFill>
            </a:endParaRPr>
          </a:p>
        </p:txBody>
      </p:sp>
      <p:pic>
        <p:nvPicPr>
          <p:cNvPr id="67" name="Google Shape;67;p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r="68688"/>
          <a:stretch/>
        </p:blipFill>
        <p:spPr>
          <a:xfrm>
            <a:off x="5614567" y="4965096"/>
            <a:ext cx="1669133" cy="17078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4"/>
          <p:cNvSpPr txBox="1">
            <a:spLocks noGrp="1"/>
          </p:cNvSpPr>
          <p:nvPr>
            <p:ph type="title"/>
          </p:nvPr>
        </p:nvSpPr>
        <p:spPr>
          <a:xfrm>
            <a:off x="415600" y="341633"/>
            <a:ext cx="11360800" cy="831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fontScale="90000"/>
          </a:bodyPr>
          <a:lstStyle/>
          <a:p>
            <a:r>
              <a:rPr lang="en" sz="4267" b="1">
                <a:latin typeface="Libre Baskerville"/>
                <a:ea typeface="Libre Baskerville"/>
                <a:cs typeface="Libre Baskerville"/>
                <a:sym typeface="Libre Baskerville"/>
              </a:rPr>
              <a:t>Anchored By Our Strategic Plan and      Core Values </a:t>
            </a:r>
            <a:r>
              <a:rPr lang="en" sz="4267" b="1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 </a:t>
            </a:r>
            <a:endParaRPr sz="4267" b="1">
              <a:solidFill>
                <a:srgbClr val="000000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algn="ctr"/>
            <a:endParaRPr sz="4267" b="1">
              <a:solidFill>
                <a:srgbClr val="000000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endParaRPr b="1">
              <a:latin typeface="Libre Baskerville"/>
              <a:ea typeface="Libre Baskerville"/>
              <a:cs typeface="Libre Baskerville"/>
              <a:sym typeface="Libre Baskerville"/>
            </a:endParaRPr>
          </a:p>
        </p:txBody>
      </p:sp>
      <p:sp>
        <p:nvSpPr>
          <p:cNvPr id="73" name="Google Shape;73;p1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defTabSz="1219170">
              <a:buClr>
                <a:srgbClr val="000000"/>
              </a:buClr>
            </a:pPr>
            <a:fld id="{00000000-1234-1234-1234-123412341234}" type="slidenum">
              <a:rPr lang="en" kern="0">
                <a:solidFill>
                  <a:srgbClr val="666666"/>
                </a:solidFill>
              </a:rPr>
              <a:pPr defTabSz="1219170">
                <a:buClr>
                  <a:srgbClr val="000000"/>
                </a:buClr>
              </a:pPr>
              <a:t>15</a:t>
            </a:fld>
            <a:endParaRPr kern="0">
              <a:solidFill>
                <a:srgbClr val="666666"/>
              </a:solidFill>
            </a:endParaRPr>
          </a:p>
        </p:txBody>
      </p:sp>
      <p:pic>
        <p:nvPicPr>
          <p:cNvPr id="74" name="Google Shape;74;p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5083" r="34827" b="28412"/>
          <a:stretch/>
        </p:blipFill>
        <p:spPr>
          <a:xfrm>
            <a:off x="1" y="1837834"/>
            <a:ext cx="6549900" cy="5020167"/>
          </a:xfrm>
          <a:prstGeom prst="rect">
            <a:avLst/>
          </a:prstGeom>
          <a:noFill/>
          <a:ln>
            <a:noFill/>
          </a:ln>
        </p:spPr>
      </p:pic>
      <p:sp>
        <p:nvSpPr>
          <p:cNvPr id="75" name="Google Shape;75;p14"/>
          <p:cNvSpPr txBox="1"/>
          <p:nvPr/>
        </p:nvSpPr>
        <p:spPr>
          <a:xfrm>
            <a:off x="6549900" y="1837834"/>
            <a:ext cx="5478400" cy="52023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609585" indent="-423323" defTabSz="1219170">
              <a:lnSpc>
                <a:spcPct val="115000"/>
              </a:lnSpc>
              <a:buClr>
                <a:srgbClr val="444444"/>
              </a:buClr>
              <a:buSzPts val="1400"/>
              <a:buFont typeface="Libre Baskerville"/>
              <a:buChar char="★"/>
            </a:pPr>
            <a:r>
              <a:rPr lang="en" sz="1867" b="1" kern="0">
                <a:solidFill>
                  <a:srgbClr val="444444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Belonging – </a:t>
            </a:r>
            <a:r>
              <a:rPr lang="en" sz="1867" kern="0">
                <a:solidFill>
                  <a:srgbClr val="444444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We believe </a:t>
            </a:r>
            <a:r>
              <a:rPr lang="en" sz="1867" u="sng" kern="0">
                <a:solidFill>
                  <a:srgbClr val="444444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all members of our community are valued and that our relationships are built on empathy and respect</a:t>
            </a:r>
            <a:endParaRPr sz="1867" u="sng" kern="0">
              <a:solidFill>
                <a:srgbClr val="444444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444444"/>
              </a:buClr>
              <a:buSzPts val="1400"/>
              <a:buFont typeface="Libre Baskerville"/>
              <a:buChar char="★"/>
            </a:pPr>
            <a:r>
              <a:rPr lang="en" sz="1867" b="1" kern="0">
                <a:solidFill>
                  <a:srgbClr val="444444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Equity – </a:t>
            </a:r>
            <a:r>
              <a:rPr lang="en" sz="1867" kern="0">
                <a:solidFill>
                  <a:srgbClr val="444444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We believe in promoting social justice to ensure an </a:t>
            </a:r>
            <a:r>
              <a:rPr lang="en" sz="1867" u="sng" kern="0">
                <a:solidFill>
                  <a:srgbClr val="444444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inclusive school community where all members are empowered and engaged</a:t>
            </a:r>
            <a:endParaRPr sz="1867" u="sng" kern="0">
              <a:solidFill>
                <a:srgbClr val="444444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marL="609585" indent="-423323" defTabSz="1219170">
              <a:lnSpc>
                <a:spcPct val="115000"/>
              </a:lnSpc>
              <a:buClr>
                <a:srgbClr val="444444"/>
              </a:buClr>
              <a:buSzPts val="1400"/>
              <a:buFont typeface="Libre Baskerville"/>
              <a:buChar char="★"/>
            </a:pPr>
            <a:r>
              <a:rPr lang="en" sz="1867" b="1" kern="0">
                <a:solidFill>
                  <a:srgbClr val="444444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Opportunity – </a:t>
            </a:r>
            <a:r>
              <a:rPr lang="en" sz="1867" kern="0">
                <a:solidFill>
                  <a:srgbClr val="444444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We believe </a:t>
            </a:r>
            <a:r>
              <a:rPr lang="en" sz="1867" u="sng" kern="0">
                <a:solidFill>
                  <a:srgbClr val="444444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all students should receive a personalized experience</a:t>
            </a:r>
            <a:r>
              <a:rPr lang="en" sz="1867" kern="0">
                <a:solidFill>
                  <a:srgbClr val="444444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 to achieve academic success, find joy in their learning, and have multiple choices for their post-secondary plans.</a:t>
            </a:r>
            <a:endParaRPr sz="2933" b="1" kern="0">
              <a:solidFill>
                <a:srgbClr val="FF0000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</p:txBody>
      </p:sp>
      <p:pic>
        <p:nvPicPr>
          <p:cNvPr id="2" name="Google Shape;101;p17">
            <a:extLst>
              <a:ext uri="{FF2B5EF4-FFF2-40B4-BE49-F238E27FC236}">
                <a16:creationId xmlns:a16="http://schemas.microsoft.com/office/drawing/2014/main" id="{C7960919-42CE-5BAC-107C-4EA9367361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r="68688"/>
          <a:stretch/>
        </p:blipFill>
        <p:spPr>
          <a:xfrm>
            <a:off x="9932567" y="64363"/>
            <a:ext cx="1669133" cy="17078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Google Shape;80;p15"/>
          <p:cNvSpPr txBox="1">
            <a:spLocks noGrp="1"/>
          </p:cNvSpPr>
          <p:nvPr>
            <p:ph type="title"/>
          </p:nvPr>
        </p:nvSpPr>
        <p:spPr>
          <a:xfrm>
            <a:off x="415600" y="389733"/>
            <a:ext cx="11360800" cy="831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" sz="3800"/>
              <a:t>Setting the Tone and Expectation</a:t>
            </a:r>
            <a:endParaRPr sz="3800"/>
          </a:p>
        </p:txBody>
      </p:sp>
      <p:pic>
        <p:nvPicPr>
          <p:cNvPr id="2" name="Google Shape;101;p17">
            <a:extLst>
              <a:ext uri="{FF2B5EF4-FFF2-40B4-BE49-F238E27FC236}">
                <a16:creationId xmlns:a16="http://schemas.microsoft.com/office/drawing/2014/main" id="{AEC58AB7-3153-B0FB-EEF3-B696B6ABF2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68688"/>
          <a:stretch/>
        </p:blipFill>
        <p:spPr>
          <a:xfrm>
            <a:off x="9932567" y="64363"/>
            <a:ext cx="1669133" cy="1707800"/>
          </a:xfrm>
          <a:prstGeom prst="rect">
            <a:avLst/>
          </a:prstGeom>
          <a:noFill/>
          <a:ln>
            <a:noFill/>
          </a:ln>
        </p:spPr>
      </p:pic>
      <p:sp>
        <p:nvSpPr>
          <p:cNvPr id="82" name="Google Shape;82;p15"/>
          <p:cNvSpPr txBox="1"/>
          <p:nvPr/>
        </p:nvSpPr>
        <p:spPr>
          <a:xfrm>
            <a:off x="77233" y="1803867"/>
            <a:ext cx="5773600" cy="49182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609585" indent="-457189" defTabSz="1219170">
              <a:lnSpc>
                <a:spcPct val="115000"/>
              </a:lnSpc>
              <a:buClr>
                <a:srgbClr val="444444"/>
              </a:buClr>
              <a:buSzPts val="1800"/>
              <a:buFont typeface="Libre Baskerville"/>
              <a:buChar char="●"/>
            </a:pPr>
            <a:r>
              <a:rPr lang="en" sz="2400" kern="0">
                <a:solidFill>
                  <a:srgbClr val="444444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New families are an asset, never a burden- families enhance the richness of the community</a:t>
            </a:r>
            <a:endParaRPr sz="2400" kern="0">
              <a:solidFill>
                <a:srgbClr val="444444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marL="609585" indent="-457189" defTabSz="1219170">
              <a:lnSpc>
                <a:spcPct val="115000"/>
              </a:lnSpc>
              <a:buClr>
                <a:srgbClr val="444444"/>
              </a:buClr>
              <a:buSzPts val="1800"/>
              <a:buFont typeface="Libre Baskerville"/>
              <a:buChar char="●"/>
            </a:pPr>
            <a:r>
              <a:rPr lang="en" sz="2400" kern="0">
                <a:solidFill>
                  <a:srgbClr val="444444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Consistently message and remind others of the benefits of welcoming new community members</a:t>
            </a:r>
            <a:endParaRPr sz="2400" kern="0">
              <a:solidFill>
                <a:srgbClr val="444444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marL="609585" indent="-457189" defTabSz="1219170">
              <a:lnSpc>
                <a:spcPct val="115000"/>
              </a:lnSpc>
              <a:buClr>
                <a:srgbClr val="444444"/>
              </a:buClr>
              <a:buSzPts val="1800"/>
              <a:buFont typeface="Libre Baskerville"/>
              <a:buChar char="●"/>
            </a:pPr>
            <a:r>
              <a:rPr lang="en" sz="2400" kern="0">
                <a:solidFill>
                  <a:srgbClr val="444444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Meet with families to listen and learn about their experiences, their talents and their needs</a:t>
            </a:r>
            <a:endParaRPr sz="2667" kern="0">
              <a:solidFill>
                <a:srgbClr val="444444"/>
              </a:solidFill>
              <a:latin typeface="Bitter"/>
              <a:ea typeface="Bitter"/>
              <a:cs typeface="Bitter"/>
              <a:sym typeface="Bitter"/>
            </a:endParaRPr>
          </a:p>
        </p:txBody>
      </p:sp>
      <p:pic>
        <p:nvPicPr>
          <p:cNvPr id="83" name="Google Shape;83;p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096001" y="2401933"/>
            <a:ext cx="5720767" cy="3815707"/>
          </a:xfrm>
          <a:prstGeom prst="rect">
            <a:avLst/>
          </a:prstGeom>
          <a:noFill/>
          <a:ln>
            <a:noFill/>
          </a:ln>
        </p:spPr>
      </p:pic>
      <p:sp>
        <p:nvSpPr>
          <p:cNvPr id="81" name="Google Shape;81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defTabSz="1219170">
              <a:buClr>
                <a:srgbClr val="000000"/>
              </a:buClr>
            </a:pPr>
            <a:fld id="{00000000-1234-1234-1234-123412341234}" type="slidenum">
              <a:rPr lang="en" kern="0">
                <a:solidFill>
                  <a:srgbClr val="666666"/>
                </a:solidFill>
              </a:rPr>
              <a:pPr defTabSz="1219170">
                <a:buClr>
                  <a:srgbClr val="000000"/>
                </a:buClr>
              </a:pPr>
              <a:t>16</a:t>
            </a:fld>
            <a:endParaRPr kern="0">
              <a:solidFill>
                <a:srgbClr val="666666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16"/>
          <p:cNvSpPr txBox="1">
            <a:spLocks noGrp="1"/>
          </p:cNvSpPr>
          <p:nvPr>
            <p:ph type="title"/>
          </p:nvPr>
        </p:nvSpPr>
        <p:spPr>
          <a:xfrm>
            <a:off x="301611" y="366934"/>
            <a:ext cx="11360800" cy="13264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r>
              <a:rPr lang="en" sz="3800" b="1">
                <a:latin typeface="Libre Baskerville"/>
                <a:ea typeface="Libre Baskerville"/>
                <a:cs typeface="Libre Baskerville"/>
                <a:sym typeface="Libre Baskerville"/>
              </a:rPr>
              <a:t>Context- Emergency Shelter System</a:t>
            </a:r>
            <a:endParaRPr sz="3800" b="1" i="1">
              <a:latin typeface="Libre Baskerville"/>
              <a:ea typeface="Libre Baskerville"/>
              <a:cs typeface="Libre Baskerville"/>
              <a:sym typeface="Libre Baskerville"/>
            </a:endParaRPr>
          </a:p>
        </p:txBody>
      </p:sp>
      <p:pic>
        <p:nvPicPr>
          <p:cNvPr id="2" name="Google Shape;101;p17">
            <a:extLst>
              <a:ext uri="{FF2B5EF4-FFF2-40B4-BE49-F238E27FC236}">
                <a16:creationId xmlns:a16="http://schemas.microsoft.com/office/drawing/2014/main" id="{DB709AD1-CAFC-EC5D-C8F8-D38DBF7E26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68688"/>
          <a:stretch/>
        </p:blipFill>
        <p:spPr>
          <a:xfrm>
            <a:off x="9932567" y="64363"/>
            <a:ext cx="1669133" cy="1707800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Google Shape;91;p16"/>
          <p:cNvSpPr txBox="1"/>
          <p:nvPr/>
        </p:nvSpPr>
        <p:spPr>
          <a:xfrm>
            <a:off x="82367" y="1768100"/>
            <a:ext cx="7841600" cy="477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609585" indent="-457189" defTabSz="1219170">
              <a:lnSpc>
                <a:spcPct val="115000"/>
              </a:lnSpc>
              <a:buClr>
                <a:srgbClr val="000000"/>
              </a:buClr>
              <a:buSzPts val="1800"/>
              <a:buFont typeface="Libre Baskerville"/>
              <a:buChar char="●"/>
            </a:pPr>
            <a:r>
              <a:rPr lang="en" sz="2400" b="1" kern="0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298 McKinney Vento </a:t>
            </a:r>
            <a:r>
              <a:rPr lang="en" sz="2400" kern="0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identified students in the Salem Public Schools (8% of our overall population)</a:t>
            </a:r>
            <a:endParaRPr sz="2400" kern="0">
              <a:solidFill>
                <a:srgbClr val="000000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marL="609585" indent="-457189" defTabSz="1219170">
              <a:lnSpc>
                <a:spcPct val="115000"/>
              </a:lnSpc>
              <a:buClr>
                <a:srgbClr val="000000"/>
              </a:buClr>
              <a:buSzPts val="1800"/>
              <a:buFont typeface="Libre Baskerville"/>
              <a:buChar char="●"/>
            </a:pPr>
            <a:r>
              <a:rPr lang="en" sz="2400" b="1" kern="0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82 SPS students</a:t>
            </a:r>
            <a:r>
              <a:rPr lang="en" sz="2400" kern="0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 at the Salem State emergency shelter site </a:t>
            </a:r>
            <a:r>
              <a:rPr lang="en" sz="2400" b="1" kern="0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(29 students remaining at shelter site)</a:t>
            </a:r>
            <a:endParaRPr sz="2400" b="1" kern="0">
              <a:solidFill>
                <a:srgbClr val="000000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marL="609585" indent="-457189" defTabSz="1219170">
              <a:lnSpc>
                <a:spcPct val="115000"/>
              </a:lnSpc>
              <a:buClr>
                <a:srgbClr val="000000"/>
              </a:buClr>
              <a:buSzPts val="1800"/>
              <a:buFont typeface="Libre Baskerville"/>
              <a:buChar char="●"/>
            </a:pPr>
            <a:r>
              <a:rPr lang="en" sz="2400" b="1" kern="0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All 82 students remaining</a:t>
            </a:r>
            <a:r>
              <a:rPr lang="en" sz="2400" kern="0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 in the Salem Public Schools</a:t>
            </a:r>
            <a:endParaRPr sz="2400" kern="0">
              <a:solidFill>
                <a:srgbClr val="000000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marL="609585" indent="-457189" defTabSz="1219170">
              <a:lnSpc>
                <a:spcPct val="115000"/>
              </a:lnSpc>
              <a:buClr>
                <a:srgbClr val="000000"/>
              </a:buClr>
              <a:buSzPts val="1800"/>
              <a:buFont typeface="Libre Baskerville"/>
              <a:buChar char="●"/>
            </a:pPr>
            <a:r>
              <a:rPr lang="en" sz="2400" kern="0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Students assigned to </a:t>
            </a:r>
            <a:r>
              <a:rPr lang="en" sz="2400" b="1" kern="0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8 different schools</a:t>
            </a:r>
            <a:r>
              <a:rPr lang="en" sz="2400" kern="0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 </a:t>
            </a:r>
            <a:endParaRPr sz="2400" kern="0">
              <a:solidFill>
                <a:srgbClr val="000000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marL="609585" indent="-457189" defTabSz="1219170">
              <a:lnSpc>
                <a:spcPct val="115000"/>
              </a:lnSpc>
              <a:buClr>
                <a:srgbClr val="000000"/>
              </a:buClr>
              <a:buSzPts val="1800"/>
              <a:buFont typeface="Libre Baskerville"/>
              <a:buChar char="●"/>
            </a:pPr>
            <a:r>
              <a:rPr lang="en" sz="2400" kern="0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Students speak </a:t>
            </a:r>
            <a:r>
              <a:rPr lang="en" sz="2400" b="1" kern="0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4 different languages</a:t>
            </a:r>
            <a:endParaRPr sz="2400" b="1" kern="0">
              <a:solidFill>
                <a:srgbClr val="000000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marL="609585" defTabSz="1219170">
              <a:lnSpc>
                <a:spcPct val="115000"/>
              </a:lnSpc>
              <a:buClr>
                <a:srgbClr val="000000"/>
              </a:buClr>
            </a:pPr>
            <a:endParaRPr sz="2400" kern="0">
              <a:solidFill>
                <a:srgbClr val="000000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</p:txBody>
      </p:sp>
      <p:pic>
        <p:nvPicPr>
          <p:cNvPr id="90" name="Google Shape;90;p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6132" r="8811"/>
          <a:stretch/>
        </p:blipFill>
        <p:spPr>
          <a:xfrm>
            <a:off x="7844901" y="2841599"/>
            <a:ext cx="4066001" cy="2323067"/>
          </a:xfrm>
          <a:prstGeom prst="rect">
            <a:avLst/>
          </a:prstGeom>
          <a:noFill/>
          <a:ln>
            <a:noFill/>
          </a:ln>
        </p:spPr>
      </p:pic>
      <p:sp>
        <p:nvSpPr>
          <p:cNvPr id="89" name="Google Shape;89;p1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defTabSz="1219170">
              <a:buClr>
                <a:srgbClr val="000000"/>
              </a:buClr>
            </a:pPr>
            <a:fld id="{00000000-1234-1234-1234-123412341234}" type="slidenum">
              <a:rPr lang="en" kern="0">
                <a:solidFill>
                  <a:srgbClr val="666666"/>
                </a:solidFill>
              </a:rPr>
              <a:pPr defTabSz="1219170">
                <a:buClr>
                  <a:srgbClr val="000000"/>
                </a:buClr>
              </a:pPr>
              <a:t>17</a:t>
            </a:fld>
            <a:endParaRPr kern="0">
              <a:solidFill>
                <a:srgbClr val="666666"/>
              </a:solidFill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17"/>
          <p:cNvSpPr txBox="1">
            <a:spLocks noGrp="1"/>
          </p:cNvSpPr>
          <p:nvPr>
            <p:ph type="title"/>
          </p:nvPr>
        </p:nvSpPr>
        <p:spPr>
          <a:xfrm>
            <a:off x="355833" y="423800"/>
            <a:ext cx="11360800" cy="831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r>
              <a:rPr lang="en" sz="3800" b="1">
                <a:latin typeface="Libre Baskerville"/>
                <a:ea typeface="Libre Baskerville"/>
                <a:cs typeface="Libre Baskerville"/>
                <a:sym typeface="Libre Baskerville"/>
              </a:rPr>
              <a:t>Our Response</a:t>
            </a:r>
            <a:endParaRPr sz="3800" b="1">
              <a:latin typeface="Libre Baskerville"/>
              <a:ea typeface="Libre Baskerville"/>
              <a:cs typeface="Libre Baskerville"/>
              <a:sym typeface="Libre Baskerville"/>
            </a:endParaRPr>
          </a:p>
        </p:txBody>
      </p:sp>
      <p:sp>
        <p:nvSpPr>
          <p:cNvPr id="97" name="Google Shape;97;p1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defTabSz="1219170">
              <a:buClr>
                <a:srgbClr val="000000"/>
              </a:buClr>
            </a:pPr>
            <a:fld id="{00000000-1234-1234-1234-123412341234}" type="slidenum">
              <a:rPr lang="en" kern="0">
                <a:solidFill>
                  <a:srgbClr val="666666"/>
                </a:solidFill>
              </a:rPr>
              <a:pPr defTabSz="1219170">
                <a:buClr>
                  <a:srgbClr val="000000"/>
                </a:buClr>
              </a:pPr>
              <a:t>18</a:t>
            </a:fld>
            <a:endParaRPr kern="0">
              <a:solidFill>
                <a:srgbClr val="666666"/>
              </a:solidFill>
            </a:endParaRPr>
          </a:p>
        </p:txBody>
      </p:sp>
      <p:sp>
        <p:nvSpPr>
          <p:cNvPr id="98" name="Google Shape;98;p17"/>
          <p:cNvSpPr txBox="1">
            <a:spLocks noGrp="1"/>
          </p:cNvSpPr>
          <p:nvPr>
            <p:ph type="body" idx="1"/>
          </p:nvPr>
        </p:nvSpPr>
        <p:spPr>
          <a:xfrm>
            <a:off x="355832" y="2617200"/>
            <a:ext cx="11793767" cy="45764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pPr marL="0" indent="0">
              <a:buNone/>
            </a:pPr>
            <a:endParaRPr lang="en" sz="2133" b="1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marL="0" indent="0">
              <a:buNone/>
            </a:pPr>
            <a:r>
              <a:rPr lang="en" sz="2400" b="1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Support From DESE</a:t>
            </a:r>
            <a:endParaRPr sz="2400" b="1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indent="-423323">
              <a:spcBef>
                <a:spcPts val="1600"/>
              </a:spcBef>
              <a:buClr>
                <a:schemeClr val="dk1"/>
              </a:buClr>
              <a:buSzPts val="1400"/>
              <a:buFont typeface="Libre Baskerville"/>
              <a:buChar char="●"/>
            </a:pPr>
            <a:r>
              <a:rPr lang="en" sz="2000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Family Resources: clothing, personal hygiene, school supplies, etc. (Fund 301 Grant)</a:t>
            </a:r>
            <a:endParaRPr sz="2000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indent="-423323">
              <a:buClr>
                <a:schemeClr val="dk1"/>
              </a:buClr>
              <a:buSzPts val="1400"/>
              <a:buFont typeface="Libre Baskerville"/>
              <a:buChar char="●"/>
            </a:pPr>
            <a:r>
              <a:rPr lang="en" sz="2000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Transportation (Emergency Assistance for Homeless Families Grant)</a:t>
            </a:r>
            <a:endParaRPr sz="2000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indent="-423323">
              <a:buClr>
                <a:schemeClr val="dk1"/>
              </a:buClr>
              <a:buSzPts val="1400"/>
              <a:buFont typeface="Libre Baskerville"/>
              <a:buChar char="●"/>
            </a:pPr>
            <a:r>
              <a:rPr lang="en" sz="2000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Language Access (Emergency Assistance for Homeless Families Grant)</a:t>
            </a:r>
            <a:endParaRPr sz="2000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indent="-423323">
              <a:buClr>
                <a:schemeClr val="dk1"/>
              </a:buClr>
              <a:buSzPts val="1400"/>
              <a:buFont typeface="Libre Baskerville"/>
              <a:buChar char="●"/>
            </a:pPr>
            <a:r>
              <a:rPr lang="en" sz="2000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ML staffing (Emergency Assistance for Homeless Families Grant)</a:t>
            </a:r>
            <a:endParaRPr sz="2000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indent="-423323">
              <a:buClr>
                <a:schemeClr val="dk1"/>
              </a:buClr>
              <a:buSzPts val="1400"/>
              <a:buFont typeface="Libre Baskerville"/>
              <a:buChar char="●"/>
            </a:pPr>
            <a:r>
              <a:rPr lang="en" sz="2000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Staff training </a:t>
            </a:r>
            <a:endParaRPr sz="2000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indent="-423323">
              <a:buClr>
                <a:schemeClr val="dk1"/>
              </a:buClr>
              <a:buSzPts val="1400"/>
              <a:buFont typeface="Libre Baskerville"/>
              <a:buChar char="●"/>
            </a:pPr>
            <a:r>
              <a:rPr lang="en" sz="2000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Adult Career Technical Programming</a:t>
            </a:r>
            <a:endParaRPr sz="2000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</p:txBody>
      </p:sp>
      <p:sp>
        <p:nvSpPr>
          <p:cNvPr id="100" name="Google Shape;100;p17"/>
          <p:cNvSpPr txBox="1"/>
          <p:nvPr/>
        </p:nvSpPr>
        <p:spPr>
          <a:xfrm>
            <a:off x="92461" y="1751037"/>
            <a:ext cx="12099539" cy="1001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lnSpc>
                <a:spcPct val="115000"/>
              </a:lnSpc>
              <a:buClr>
                <a:srgbClr val="000000"/>
              </a:buClr>
            </a:pPr>
            <a:r>
              <a:rPr lang="en" sz="2133" kern="0">
                <a:solidFill>
                  <a:srgbClr val="000000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Mobilized cross-departmental district team, school based support teams, partnership with city officials and DESE resources to ensure cohesion and optimal support.</a:t>
            </a:r>
            <a:endParaRPr sz="16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01" name="Google Shape;101;p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68688"/>
          <a:stretch/>
        </p:blipFill>
        <p:spPr>
          <a:xfrm>
            <a:off x="9932567" y="64363"/>
            <a:ext cx="1669133" cy="17078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17"/>
          <p:cNvSpPr txBox="1">
            <a:spLocks noGrp="1"/>
          </p:cNvSpPr>
          <p:nvPr>
            <p:ph type="title"/>
          </p:nvPr>
        </p:nvSpPr>
        <p:spPr>
          <a:xfrm>
            <a:off x="355833" y="423800"/>
            <a:ext cx="11360800" cy="831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r>
              <a:rPr lang="en" sz="3800" b="1">
                <a:latin typeface="Libre Baskerville"/>
                <a:ea typeface="Libre Baskerville"/>
                <a:cs typeface="Libre Baskerville"/>
                <a:sym typeface="Libre Baskerville"/>
              </a:rPr>
              <a:t>Our Response   </a:t>
            </a:r>
            <a:endParaRPr sz="3800" b="1" dirty="0">
              <a:latin typeface="Libre Baskerville"/>
              <a:ea typeface="Libre Baskerville"/>
              <a:cs typeface="Libre Baskerville"/>
              <a:sym typeface="Libre Baskerville"/>
            </a:endParaRPr>
          </a:p>
        </p:txBody>
      </p:sp>
      <p:sp>
        <p:nvSpPr>
          <p:cNvPr id="97" name="Google Shape;97;p1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/>
          <a:p>
            <a:pPr defTabSz="1219170">
              <a:buClr>
                <a:srgbClr val="000000"/>
              </a:buClr>
            </a:pPr>
            <a:fld id="{00000000-1234-1234-1234-123412341234}" type="slidenum">
              <a:rPr lang="en" kern="0">
                <a:solidFill>
                  <a:srgbClr val="666666"/>
                </a:solidFill>
              </a:rPr>
              <a:pPr defTabSz="1219170">
                <a:buClr>
                  <a:srgbClr val="000000"/>
                </a:buClr>
              </a:pPr>
              <a:t>19</a:t>
            </a:fld>
            <a:endParaRPr kern="0">
              <a:solidFill>
                <a:srgbClr val="666666"/>
              </a:solidFill>
            </a:endParaRPr>
          </a:p>
        </p:txBody>
      </p:sp>
      <p:sp>
        <p:nvSpPr>
          <p:cNvPr id="99" name="Google Shape;99;p17"/>
          <p:cNvSpPr txBox="1">
            <a:spLocks noGrp="1"/>
          </p:cNvSpPr>
          <p:nvPr>
            <p:ph type="body" idx="2"/>
          </p:nvPr>
        </p:nvSpPr>
        <p:spPr>
          <a:xfrm>
            <a:off x="355833" y="2013518"/>
            <a:ext cx="11779558" cy="4101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 lnSpcReduction="10000"/>
          </a:bodyPr>
          <a:lstStyle/>
          <a:p>
            <a:pPr marL="0" indent="0">
              <a:buNone/>
            </a:pPr>
            <a:r>
              <a:rPr lang="en" sz="2133" b="1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City/District Partnership</a:t>
            </a:r>
            <a:endParaRPr sz="2133" b="1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indent="-423323">
              <a:spcBef>
                <a:spcPts val="1600"/>
              </a:spcBef>
              <a:buClr>
                <a:schemeClr val="dk1"/>
              </a:buClr>
              <a:buSzPts val="1400"/>
              <a:buFont typeface="Libre Baskerville"/>
              <a:buChar char="●"/>
            </a:pPr>
            <a:r>
              <a:rPr lang="en" sz="1867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Role of district and school based student support coordinators and family engagement facilitators</a:t>
            </a:r>
            <a:endParaRPr sz="1867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lvl="1" indent="-423323">
              <a:buClr>
                <a:schemeClr val="dk1"/>
              </a:buClr>
              <a:buSzPts val="1400"/>
              <a:buFont typeface="Libre Baskerville"/>
              <a:buChar char="○"/>
            </a:pPr>
            <a:r>
              <a:rPr lang="en" sz="1867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Ongoing case management</a:t>
            </a:r>
            <a:endParaRPr sz="1867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indent="-423323">
              <a:buClr>
                <a:schemeClr val="dk1"/>
              </a:buClr>
              <a:buSzPts val="1400"/>
              <a:buFont typeface="Libre Baskerville"/>
              <a:buChar char="●"/>
            </a:pPr>
            <a:r>
              <a:rPr lang="en" sz="1867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Responsive Services</a:t>
            </a:r>
            <a:endParaRPr sz="1867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lvl="1" indent="-423323">
              <a:buClr>
                <a:schemeClr val="dk1"/>
              </a:buClr>
              <a:buSzPts val="1400"/>
              <a:buFont typeface="Libre Baskerville"/>
              <a:buChar char="○"/>
            </a:pPr>
            <a:r>
              <a:rPr lang="en" sz="1867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Parent Child Plus Programming</a:t>
            </a:r>
            <a:endParaRPr sz="1867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lvl="1" indent="-423323">
              <a:buClr>
                <a:schemeClr val="dk1"/>
              </a:buClr>
              <a:buSzPts val="1400"/>
              <a:buFont typeface="Libre Baskerville"/>
              <a:buChar char="○"/>
            </a:pPr>
            <a:r>
              <a:rPr lang="en" sz="1867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Physical and Mental Health Supports</a:t>
            </a:r>
            <a:endParaRPr sz="1867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lvl="1" indent="-423323">
              <a:buClr>
                <a:schemeClr val="dk1"/>
              </a:buClr>
              <a:buSzPts val="1400"/>
              <a:buFont typeface="Libre Baskerville"/>
              <a:buChar char="○"/>
            </a:pPr>
            <a:r>
              <a:rPr lang="en" sz="1867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Food and Basic Needs </a:t>
            </a:r>
            <a:endParaRPr sz="1867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lvl="1" indent="-423323">
              <a:buClr>
                <a:schemeClr val="dk1"/>
              </a:buClr>
              <a:buSzPts val="1400"/>
              <a:buFont typeface="Libre Baskerville"/>
              <a:buChar char="○"/>
            </a:pPr>
            <a:r>
              <a:rPr lang="en" sz="1867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Health Van</a:t>
            </a:r>
            <a:endParaRPr sz="1867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lvl="1" indent="-423323">
              <a:buClr>
                <a:schemeClr val="dk1"/>
              </a:buClr>
              <a:buSzPts val="1400"/>
              <a:buFont typeface="Libre Baskerville"/>
              <a:buChar char="○"/>
            </a:pPr>
            <a:r>
              <a:rPr lang="en" sz="1867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ESL Classes</a:t>
            </a:r>
            <a:endParaRPr sz="1867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lvl="1" indent="-423323">
              <a:buClr>
                <a:schemeClr val="dk1"/>
              </a:buClr>
              <a:buSzPts val="1400"/>
              <a:buFont typeface="Libre Baskerville"/>
              <a:buChar char="○"/>
            </a:pPr>
            <a:r>
              <a:rPr lang="en" sz="1867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Legal consultation</a:t>
            </a:r>
            <a:endParaRPr sz="1867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  <a:p>
            <a:pPr lvl="1" indent="-423323">
              <a:buClr>
                <a:schemeClr val="dk1"/>
              </a:buClr>
              <a:buSzPts val="1400"/>
              <a:buFont typeface="Libre Baskerville"/>
              <a:buChar char="○"/>
            </a:pPr>
            <a:r>
              <a:rPr lang="en" sz="1867">
                <a:solidFill>
                  <a:schemeClr val="dk1"/>
                </a:solidFill>
                <a:latin typeface="Libre Baskerville"/>
                <a:ea typeface="Libre Baskerville"/>
                <a:cs typeface="Libre Baskerville"/>
                <a:sym typeface="Libre Baskerville"/>
              </a:rPr>
              <a:t>After school and summer programs</a:t>
            </a:r>
            <a:endParaRPr sz="1867">
              <a:solidFill>
                <a:schemeClr val="dk1"/>
              </a:solidFill>
              <a:latin typeface="Libre Baskerville"/>
              <a:ea typeface="Libre Baskerville"/>
              <a:cs typeface="Libre Baskerville"/>
              <a:sym typeface="Libre Baskerville"/>
            </a:endParaRPr>
          </a:p>
        </p:txBody>
      </p:sp>
      <p:pic>
        <p:nvPicPr>
          <p:cNvPr id="101" name="Google Shape;101;p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r="68688"/>
          <a:stretch/>
        </p:blipFill>
        <p:spPr>
          <a:xfrm>
            <a:off x="9932567" y="64363"/>
            <a:ext cx="1669133" cy="1707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8121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E96D76-6484-7599-AF2E-6337547EF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Agenda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31989D3-C7FD-0E8F-293B-72C83BF238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Massachusetts Context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Whole-Child Supports</a:t>
            </a:r>
          </a:p>
          <a:p>
            <a:r>
              <a:rPr lang="en-US">
                <a:latin typeface="Arial"/>
                <a:cs typeface="Arial"/>
              </a:rPr>
              <a:t>Instructional Supports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District Presentation</a:t>
            </a: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F8C847E-9C79-0BDE-B75B-4B6719E78C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9328" y="2071686"/>
            <a:ext cx="5429249" cy="547688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8014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22FE222-FE2A-24BC-CCE7-CF4F4AAA8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1015662" cy="1042852"/>
          </a:xfrm>
        </p:spPr>
        <p:txBody>
          <a:bodyPr>
            <a:noAutofit/>
          </a:bodyPr>
          <a:lstStyle/>
          <a:p>
            <a:r>
              <a:rPr lang="en-US" sz="4000">
                <a:latin typeface="Arial"/>
                <a:cs typeface="Arial"/>
              </a:rPr>
              <a:t>Massachusetts Context: Students Experiencing Homelessness</a:t>
            </a:r>
            <a:endParaRPr lang="en-US" sz="40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6BA248-C502-AC80-3A0C-E6F7A0BE0F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629" y="1947867"/>
            <a:ext cx="6097653" cy="4033625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FE181C2-48F8-35EF-5BC3-933A049E8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78316" y="2086984"/>
            <a:ext cx="4375484" cy="4052559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US">
                <a:latin typeface="Arial"/>
                <a:cs typeface="Arial"/>
              </a:rPr>
              <a:t>More than 31,000</a:t>
            </a:r>
            <a:r>
              <a:rPr lang="en-US" b="1">
                <a:latin typeface="Arial"/>
                <a:cs typeface="Arial"/>
              </a:rPr>
              <a:t> </a:t>
            </a:r>
            <a:r>
              <a:rPr lang="en-US">
                <a:latin typeface="Arial"/>
                <a:cs typeface="Arial"/>
              </a:rPr>
              <a:t>Massachusetts public school students experienced homelessness this year.</a:t>
            </a:r>
          </a:p>
          <a:p>
            <a:r>
              <a:rPr lang="en-US">
                <a:latin typeface="Arial"/>
                <a:cs typeface="Arial"/>
              </a:rPr>
              <a:t>~85% of Massachusetts public schools served at least one student experiencing homelessness this year. 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4668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632506-0D84-A5C1-4E2A-68D0128057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6063"/>
            <a:ext cx="10515600" cy="1042852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Massachusetts Context: </a:t>
            </a: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How Students Experience Homelessness 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EB46B220-6ED4-ACBE-CE31-5A04FA63949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630346"/>
              </p:ext>
            </p:extLst>
          </p:nvPr>
        </p:nvGraphicFramePr>
        <p:xfrm>
          <a:off x="838200" y="2087562"/>
          <a:ext cx="10515597" cy="3562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76161">
                  <a:extLst>
                    <a:ext uri="{9D8B030D-6E8A-4147-A177-3AD203B41FA5}">
                      <a16:colId xmlns:a16="http://schemas.microsoft.com/office/drawing/2014/main" val="1542967343"/>
                    </a:ext>
                  </a:extLst>
                </a:gridCol>
                <a:gridCol w="2500829">
                  <a:extLst>
                    <a:ext uri="{9D8B030D-6E8A-4147-A177-3AD203B41FA5}">
                      <a16:colId xmlns:a16="http://schemas.microsoft.com/office/drawing/2014/main" val="854464802"/>
                    </a:ext>
                  </a:extLst>
                </a:gridCol>
                <a:gridCol w="2738607">
                  <a:extLst>
                    <a:ext uri="{9D8B030D-6E8A-4147-A177-3AD203B41FA5}">
                      <a16:colId xmlns:a16="http://schemas.microsoft.com/office/drawing/2014/main" val="372939552"/>
                    </a:ext>
                  </a:extLst>
                </a:gridCol>
              </a:tblGrid>
              <a:tr h="594547"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Aptos"/>
                        </a:rPr>
                        <a:t>Primary Nighttime Reside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latin typeface="Aptos"/>
                        </a:rPr>
                        <a:t>20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latin typeface="Aptos"/>
                        </a:rPr>
                        <a:t>202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63102399"/>
                  </a:ext>
                </a:extLst>
              </a:tr>
              <a:tr h="594547">
                <a:tc>
                  <a:txBody>
                    <a:bodyPr/>
                    <a:lstStyle/>
                    <a:p>
                      <a:r>
                        <a:rPr lang="en-US">
                          <a:latin typeface="Aptos"/>
                        </a:rPr>
                        <a:t>Shelt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Aptos"/>
                        </a:rPr>
                        <a:t>6,40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Aptos"/>
                        </a:rPr>
                        <a:t>9,42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05096"/>
                  </a:ext>
                </a:extLst>
              </a:tr>
              <a:tr h="544731">
                <a:tc>
                  <a:txBody>
                    <a:bodyPr/>
                    <a:lstStyle/>
                    <a:p>
                      <a:r>
                        <a:rPr lang="en-US">
                          <a:latin typeface="Aptos"/>
                        </a:rPr>
                        <a:t>Doubled-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Aptos"/>
                        </a:rPr>
                        <a:t>16,47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Aptos"/>
                        </a:rPr>
                        <a:t>18,65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34923547"/>
                  </a:ext>
                </a:extLst>
              </a:tr>
              <a:tr h="594547">
                <a:tc>
                  <a:txBody>
                    <a:bodyPr/>
                    <a:lstStyle/>
                    <a:p>
                      <a:r>
                        <a:rPr lang="en-US">
                          <a:latin typeface="Aptos"/>
                        </a:rPr>
                        <a:t>Unsheltered (e.g., cars, parks, campgrounds, etc.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Aptos"/>
                        </a:rPr>
                        <a:t>29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Aptos"/>
                        </a:rPr>
                        <a:t>471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18768610"/>
                  </a:ext>
                </a:extLst>
              </a:tr>
              <a:tr h="594547">
                <a:tc>
                  <a:txBody>
                    <a:bodyPr/>
                    <a:lstStyle/>
                    <a:p>
                      <a:r>
                        <a:rPr lang="en-US">
                          <a:latin typeface="Aptos"/>
                        </a:rPr>
                        <a:t>Hotels/Mote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Aptos"/>
                        </a:rPr>
                        <a:t>2,04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>
                          <a:latin typeface="Aptos"/>
                        </a:rPr>
                        <a:t>2,26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34368539"/>
                  </a:ext>
                </a:extLst>
              </a:tr>
              <a:tr h="59454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latin typeface="Aptos"/>
                        </a:rPr>
                        <a:t>Total Students Experiencing Homelessness</a:t>
                      </a:r>
                    </a:p>
                    <a:p>
                      <a:endParaRPr lang="en-US">
                        <a:latin typeface="Aptos" panose="020B00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>
                          <a:latin typeface="Aptos"/>
                        </a:rPr>
                        <a:t>25,2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latin typeface="Aptos"/>
                        </a:rPr>
                        <a:t>30,8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415868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17451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Calibri"/>
                <a:cs typeface="Segoe UI Semibold"/>
              </a:rPr>
              <a:t>Massachusetts Context: Collaboration</a:t>
            </a:r>
            <a:endParaRPr lang="en-US">
              <a:latin typeface="Calibri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5700" y="1938818"/>
            <a:ext cx="10864850" cy="380143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457200" lvl="1" indent="0">
              <a:buNone/>
              <a:tabLst>
                <a:tab pos="2286000" algn="l"/>
              </a:tabLst>
            </a:pPr>
            <a:r>
              <a:rPr lang="en-US" b="0" i="1">
                <a:solidFill>
                  <a:srgbClr val="202124"/>
                </a:solidFill>
                <a:effectLst/>
                <a:latin typeface="Calibri"/>
                <a:cs typeface="Arial"/>
              </a:rPr>
              <a:t>Alone, we can do so little; together, we can do so much." - Helen Keller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7FD982B-FF4F-26FC-4FC2-2E39189A722D}"/>
              </a:ext>
            </a:extLst>
          </p:cNvPr>
          <p:cNvSpPr/>
          <p:nvPr/>
        </p:nvSpPr>
        <p:spPr>
          <a:xfrm>
            <a:off x="248708" y="2687404"/>
            <a:ext cx="2656416" cy="3026630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/>
              <a:t>Partnership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A45B766-393B-5519-8CBB-EBF0C68C64F8}"/>
              </a:ext>
            </a:extLst>
          </p:cNvPr>
          <p:cNvSpPr/>
          <p:nvPr/>
        </p:nvSpPr>
        <p:spPr>
          <a:xfrm>
            <a:off x="3053291" y="2688022"/>
            <a:ext cx="8318500" cy="351865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Governor's Office (GOV)</a:t>
            </a:r>
            <a:endParaRPr lang="en-US">
              <a:solidFill>
                <a:schemeClr val="tx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Executive Office of Education (EOE)</a:t>
            </a:r>
            <a:endParaRPr lang="en-US">
              <a:solidFill>
                <a:schemeClr val="tx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Executive Office of Housing and Livable Communities (EOHLC)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Office of Refugees and Immigrants (ORI)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Executive Office of Health &amp; Human Services (EHS) 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Department of Public Health (DPH)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Executive Office for Administration &amp; Finance (A&amp;F)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Department of Transitional Assistance (DTA)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Massachusetts Municipal Association (MMA)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Massachusetts Association of School Superintendents (MASS)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solidFill>
                  <a:schemeClr val="tx1"/>
                </a:solidFill>
                <a:ea typeface="+mn-lt"/>
                <a:cs typeface="+mn-lt"/>
              </a:rPr>
              <a:t>Massachusetts Association of School Superintendents Task Force (MASS Task Force)</a:t>
            </a:r>
          </a:p>
        </p:txBody>
      </p:sp>
    </p:spTree>
    <p:extLst>
      <p:ext uri="{BB962C8B-B14F-4D97-AF65-F5344CB8AC3E}">
        <p14:creationId xmlns:p14="http://schemas.microsoft.com/office/powerpoint/2010/main" val="36053411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E96D76-6484-7599-AF2E-6337547EF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Agenda 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31989D3-C7FD-0E8F-293B-72C83BF238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Massachusetts Context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Whole-Child Supports</a:t>
            </a:r>
          </a:p>
          <a:p>
            <a:r>
              <a:rPr lang="en-US">
                <a:latin typeface="Arial"/>
                <a:cs typeface="Arial"/>
              </a:rPr>
              <a:t>Instructional Supports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District Presentation</a:t>
            </a: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86319D8-3820-CEF7-72B7-D68C7021A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2203" y="2595561"/>
            <a:ext cx="5429249" cy="464346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2725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27FD209-A46F-36D0-6E23-11B5AF841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>
                <a:latin typeface="Calibri"/>
                <a:cs typeface="Arial"/>
              </a:rPr>
              <a:t>Whole Child Supports: Existing/Ongoing Supports for Students Experiencing Homelessness</a:t>
            </a:r>
            <a:endParaRPr lang="en-US">
              <a:latin typeface="Calibri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2D37623-E588-C1A2-0061-A1BD9DF2EB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50678"/>
            <a:ext cx="10515600" cy="4771016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>
              <a:latin typeface="Calibri"/>
              <a:cs typeface="Calibri"/>
            </a:endParaRPr>
          </a:p>
          <a:p>
            <a:r>
              <a:rPr lang="en-US" sz="3200">
                <a:latin typeface="Calibri"/>
                <a:cs typeface="Calibri"/>
              </a:rPr>
              <a:t>Monthly office hours</a:t>
            </a:r>
          </a:p>
          <a:p>
            <a:r>
              <a:rPr lang="en-US" sz="3200">
                <a:latin typeface="Calibri"/>
                <a:cs typeface="Calibri"/>
              </a:rPr>
              <a:t>In-person and virtual technical assistance</a:t>
            </a:r>
          </a:p>
          <a:p>
            <a:r>
              <a:rPr lang="en-US" sz="3200">
                <a:latin typeface="Calibri"/>
                <a:cs typeface="Calibri"/>
              </a:rPr>
              <a:t>Professional learning communities &amp; networking opportunities to learn and share best practices</a:t>
            </a:r>
          </a:p>
          <a:p>
            <a:r>
              <a:rPr lang="en-US" sz="3200">
                <a:latin typeface="Calibri"/>
                <a:cs typeface="Calibri"/>
              </a:rPr>
              <a:t>Direct technical assistance to district homeless liaisons from DESE's Homeless Education State Coordinator</a:t>
            </a:r>
          </a:p>
          <a:p>
            <a:pPr lvl="1"/>
            <a:endParaRPr lang="en-US"/>
          </a:p>
          <a:p>
            <a:endParaRPr lang="en-US">
              <a:latin typeface="+mn-lt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653484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27FD209-A46F-36D0-6E23-11B5AF841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en-US" sz="4000">
                <a:latin typeface="Calibri"/>
                <a:cs typeface="Arial"/>
              </a:rPr>
              <a:t>Whole Child Supports: Funding for Districts Welcoming Newly Arrived Students in the EA Shelter System</a:t>
            </a:r>
            <a:endParaRPr lang="en-US" sz="4000">
              <a:latin typeface="Calibri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2D37623-E588-C1A2-0061-A1BD9DF2EB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2617" y="2086984"/>
            <a:ext cx="11573933" cy="405255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1028700" lvl="1" indent="-571500"/>
            <a:r>
              <a:rPr lang="en-US" sz="3200" b="1">
                <a:latin typeface="Calibri"/>
                <a:cs typeface="Calibri"/>
              </a:rPr>
              <a:t>$1,000 per student to meet immediate needs</a:t>
            </a:r>
          </a:p>
          <a:p>
            <a:pPr marL="1485900" lvl="2"/>
            <a:r>
              <a:rPr lang="en-US" sz="2800">
                <a:latin typeface="Calibri"/>
                <a:cs typeface="Calibri"/>
              </a:rPr>
              <a:t>Awarded to date:  ~$3.4 million</a:t>
            </a:r>
          </a:p>
          <a:p>
            <a:pPr marL="1028700" lvl="1" indent="-571500"/>
            <a:r>
              <a:rPr lang="en-US" sz="3200" b="1">
                <a:latin typeface="Calibri"/>
                <a:cs typeface="Calibri"/>
              </a:rPr>
              <a:t>$104.89 reimbursement per student per day enrolled</a:t>
            </a:r>
            <a:r>
              <a:rPr lang="en-US" sz="3200">
                <a:latin typeface="Calibri"/>
                <a:cs typeface="Calibri"/>
              </a:rPr>
              <a:t> </a:t>
            </a:r>
          </a:p>
          <a:p>
            <a:pPr marL="1485900" lvl="2"/>
            <a:r>
              <a:rPr lang="en-US" sz="2800">
                <a:latin typeface="Calibri"/>
                <a:cs typeface="Calibri"/>
              </a:rPr>
              <a:t>Expended to date: ~$23 million</a:t>
            </a:r>
            <a:endParaRPr lang="en-US" sz="2800">
              <a:latin typeface="Calibri"/>
              <a:ea typeface="+mn-lt"/>
              <a:cs typeface="+mn-lt"/>
            </a:endParaRPr>
          </a:p>
          <a:p>
            <a:pPr marL="1028700" lvl="1" indent="-571500"/>
            <a:r>
              <a:rPr lang="en-US" sz="3200" b="1">
                <a:latin typeface="Calibri"/>
                <a:cs typeface="Calibri"/>
              </a:rPr>
              <a:t>Accelerated payment for eligible districts to address transportation cost for ‘school of origin’ </a:t>
            </a:r>
          </a:p>
          <a:p>
            <a:pPr marL="1485900" lvl="2"/>
            <a:r>
              <a:rPr lang="en-US" sz="2800">
                <a:latin typeface="Calibri"/>
                <a:cs typeface="Calibri"/>
              </a:rPr>
              <a:t>Expended to date: ~$700,000</a:t>
            </a:r>
          </a:p>
        </p:txBody>
      </p:sp>
    </p:spTree>
    <p:extLst>
      <p:ext uri="{BB962C8B-B14F-4D97-AF65-F5344CB8AC3E}">
        <p14:creationId xmlns:p14="http://schemas.microsoft.com/office/powerpoint/2010/main" val="14969996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1E96D76-6484-7599-AF2E-6337547EF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Agenda  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31989D3-C7FD-0E8F-293B-72C83BF238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Arial"/>
                <a:cs typeface="Arial"/>
              </a:rPr>
              <a:t>Massachusetts Context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Whole-Child Supports</a:t>
            </a:r>
          </a:p>
          <a:p>
            <a:r>
              <a:rPr lang="en-US">
                <a:latin typeface="Arial"/>
                <a:cs typeface="Arial"/>
              </a:rPr>
              <a:t>Instructional Supports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District Presentation</a:t>
            </a: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AC1A002-9061-329B-E38D-9B25360F2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2203" y="3083718"/>
            <a:ext cx="5429249" cy="595313"/>
          </a:xfrm>
          <a:prstGeom prst="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551EDC-5247-FC09-9A60-DB0D98845E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-240000">
            <a:off x="7265193" y="681038"/>
            <a:ext cx="3698082" cy="20907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A488E7A-D7D6-01C9-2EC7-0B511C8132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360000">
            <a:off x="7896225" y="1895475"/>
            <a:ext cx="4090988" cy="237648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4524F64-2697-F43B-8E5E-681506151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-360000">
            <a:off x="7046119" y="3386137"/>
            <a:ext cx="4148138" cy="2371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5796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SE_Template" id="{8B1FC134-3306-8949-8EE6-54D8D1A68082}" vid="{D023F173-81C9-6C41-B8A8-A9E8365AC245}"/>
    </a:ext>
  </a:extLst>
</a:theme>
</file>

<file path=ppt/theme/theme2.xml><?xml version="1.0" encoding="utf-8"?>
<a:theme xmlns:a="http://schemas.openxmlformats.org/drawingml/2006/main" name="Paradigm">
  <a:themeElements>
    <a:clrScheme name="Paradigm">
      <a:dk1>
        <a:srgbClr val="31394D"/>
      </a:dk1>
      <a:lt1>
        <a:srgbClr val="FFFFFF"/>
      </a:lt1>
      <a:dk2>
        <a:srgbClr val="666666"/>
      </a:dk2>
      <a:lt2>
        <a:srgbClr val="626B73"/>
      </a:lt2>
      <a:accent1>
        <a:srgbClr val="002F4A"/>
      </a:accent1>
      <a:accent2>
        <a:srgbClr val="D9C4B1"/>
      </a:accent2>
      <a:accent3>
        <a:srgbClr val="EDE3DA"/>
      </a:accent3>
      <a:accent4>
        <a:srgbClr val="B85741"/>
      </a:accent4>
      <a:accent5>
        <a:srgbClr val="009384"/>
      </a:accent5>
      <a:accent6>
        <a:srgbClr val="D0F6FF"/>
      </a:accent6>
      <a:hlink>
        <a:srgbClr val="009384"/>
      </a:hlink>
      <a:folHlink>
        <a:srgbClr val="00938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0EA0BB4E6A684694772750B001C800" ma:contentTypeVersion="14" ma:contentTypeDescription="Create a new document." ma:contentTypeScope="" ma:versionID="2570abc8cd42dcfbcf857bb7637975b8">
  <xsd:schema xmlns:xsd="http://www.w3.org/2001/XMLSchema" xmlns:xs="http://www.w3.org/2001/XMLSchema" xmlns:p="http://schemas.microsoft.com/office/2006/metadata/properties" xmlns:ns2="0128f6a2-0fe6-40ac-973e-bb0bf351512f" xmlns:ns3="7a12eb2f-f040-4639-9fb2-5a6588dc8035" targetNamespace="http://schemas.microsoft.com/office/2006/metadata/properties" ma:root="true" ma:fieldsID="d05fa8da73a61f2f04cbd345cca9ce77" ns2:_="" ns3:_="">
    <xsd:import namespace="0128f6a2-0fe6-40ac-973e-bb0bf351512f"/>
    <xsd:import namespace="7a12eb2f-f040-4639-9fb2-5a6588dc80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28f6a2-0fe6-40ac-973e-bb0bf351512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12eb2f-f040-4639-9fb2-5a6588dc803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37bb8feb-9677-4bc1-b64f-9fa6907871bd}" ma:internalName="TaxCatchAll" ma:showField="CatchAllData" ma:web="7a12eb2f-f040-4639-9fb2-5a6588dc80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7a12eb2f-f040-4639-9fb2-5a6588dc8035">
      <UserInfo>
        <DisplayName>Bettencourt, Helene H. (DESE)</DisplayName>
        <AccountId>18</AccountId>
        <AccountType/>
      </UserInfo>
      <UserInfo>
        <DisplayName>Foley, Kinnon (DESE)</DisplayName>
        <AccountId>1477</AccountId>
        <AccountType/>
      </UserInfo>
      <UserInfo>
        <DisplayName>Woo, Lauren (DESE)</DisplayName>
        <AccountId>84</AccountId>
        <AccountType/>
      </UserInfo>
      <UserInfo>
        <DisplayName>McKinnon, Kristen A (DESE)</DisplayName>
        <AccountId>61</AccountId>
        <AccountType/>
      </UserInfo>
      <UserInfo>
        <DisplayName>Harrington, Carrie J (DESE)</DisplayName>
        <AccountId>357</AccountId>
        <AccountType/>
      </UserInfo>
      <UserInfo>
        <DisplayName>Balter, Allison E. (DESE)</DisplayName>
        <AccountId>1196</AccountId>
        <AccountType/>
      </UserInfo>
    </SharedWithUsers>
    <TaxCatchAll xmlns="7a12eb2f-f040-4639-9fb2-5a6588dc8035" xsi:nil="true"/>
    <lcf76f155ced4ddcb4097134ff3c332f xmlns="0128f6a2-0fe6-40ac-973e-bb0bf351512f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FA0D600-B527-4F1E-A532-5B7A2A383162}">
  <ds:schemaRefs>
    <ds:schemaRef ds:uri="0128f6a2-0fe6-40ac-973e-bb0bf351512f"/>
    <ds:schemaRef ds:uri="7a12eb2f-f040-4639-9fb2-5a6588dc803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A434A98-F106-45CE-8E8A-DD686612E616}">
  <ds:schemaRefs>
    <ds:schemaRef ds:uri="0128f6a2-0fe6-40ac-973e-bb0bf351512f"/>
    <ds:schemaRef ds:uri="http://www.w3.org/XML/1998/namespace"/>
    <ds:schemaRef ds:uri="7a12eb2f-f040-4639-9fb2-5a6588dc8035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00F4F6BA-9256-4D68-961F-89F22BA60EA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</TotalTime>
  <Words>927</Words>
  <Application>Microsoft Office PowerPoint</Application>
  <PresentationFormat>Widescreen</PresentationFormat>
  <Paragraphs>154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6" baseType="lpstr">
      <vt:lpstr>Bitter</vt:lpstr>
      <vt:lpstr>Segoe</vt:lpstr>
      <vt:lpstr>Aptos</vt:lpstr>
      <vt:lpstr>Arial</vt:lpstr>
      <vt:lpstr>Calibri</vt:lpstr>
      <vt:lpstr>Courier New</vt:lpstr>
      <vt:lpstr>georgia</vt:lpstr>
      <vt:lpstr>Libre Baskerville</vt:lpstr>
      <vt:lpstr>Merriweather</vt:lpstr>
      <vt:lpstr>Roboto</vt:lpstr>
      <vt:lpstr>Segoe UI</vt:lpstr>
      <vt:lpstr>Segoe UI Semibold</vt:lpstr>
      <vt:lpstr>Times New Roman</vt:lpstr>
      <vt:lpstr>Wingdings</vt:lpstr>
      <vt:lpstr>Office Theme</vt:lpstr>
      <vt:lpstr>Paradigm</vt:lpstr>
      <vt:lpstr>think-cell Slide</vt:lpstr>
      <vt:lpstr>  Supports for Newly Arrived Students Experiencing Homelessness</vt:lpstr>
      <vt:lpstr>Agenda</vt:lpstr>
      <vt:lpstr>Massachusetts Context: Students Experiencing Homelessness</vt:lpstr>
      <vt:lpstr>Massachusetts Context:  How Students Experience Homelessness </vt:lpstr>
      <vt:lpstr>Massachusetts Context: Collaboration</vt:lpstr>
      <vt:lpstr>Agenda </vt:lpstr>
      <vt:lpstr>Whole Child Supports: Existing/Ongoing Supports for Students Experiencing Homelessness</vt:lpstr>
      <vt:lpstr>Whole Child Supports: Funding for Districts Welcoming Newly Arrived Students in the EA Shelter System</vt:lpstr>
      <vt:lpstr>Agenda  </vt:lpstr>
      <vt:lpstr>New Instructional Supports for Districts Welcoming Newly Arrived Students </vt:lpstr>
      <vt:lpstr>Instructional Supports:  Ongoing, Tailored Professional Learning </vt:lpstr>
      <vt:lpstr>Agenda   </vt:lpstr>
      <vt:lpstr>District Presentation</vt:lpstr>
      <vt:lpstr>Salem Public Schools Welcoming Newcomers</vt:lpstr>
      <vt:lpstr>Anchored By Our Strategic Plan and      Core Values    </vt:lpstr>
      <vt:lpstr>Setting the Tone and Expectation</vt:lpstr>
      <vt:lpstr>Context- Emergency Shelter System</vt:lpstr>
      <vt:lpstr>Our Response</vt:lpstr>
      <vt:lpstr>Our Response 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SE June 2024 Regular Meeting Item 4 PowerPoint: Supports for Newly Arrived Students Experiencing Homelessness</dc:title>
  <dc:creator>DESE</dc:creator>
  <cp:lastModifiedBy>Zou, Dong (EOE)</cp:lastModifiedBy>
  <cp:revision>5</cp:revision>
  <cp:lastPrinted>2024-06-18T13:31:15Z</cp:lastPrinted>
  <dcterms:created xsi:type="dcterms:W3CDTF">2022-10-11T20:32:22Z</dcterms:created>
  <dcterms:modified xsi:type="dcterms:W3CDTF">2024-06-27T19:0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tadate">
    <vt:lpwstr>Jun 27 2024 12:00AM</vt:lpwstr>
  </property>
</Properties>
</file>